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104.xml" ContentType="application/vnd.openxmlformats-officedocument.presentationml.tags+xml"/>
  <Override PartName="/ppt/slides/slide25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tags/tag52.xml" ContentType="application/vnd.openxmlformats-officedocument.presentationml.tags+xml"/>
  <Override PartName="/ppt/tags/tag109.xml" ContentType="application/vnd.openxmlformats-officedocument.presentationml.tags+xml"/>
  <Override PartName="/ppt/tags/tag12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diagrams/layout1.xml" ContentType="application/vnd.openxmlformats-officedocument.drawingml.diagramLayout+xml"/>
  <Override PartName="/ppt/tags/tag116.xml" ContentType="application/vnd.openxmlformats-officedocument.presentationml.tags+xml"/>
  <Override PartName="/ppt/diagrams/data2.xml" ContentType="application/vnd.openxmlformats-officedocument.drawingml.diagramData+xml"/>
  <Override PartName="/ppt/tags/tag127.xml" ContentType="application/vnd.openxmlformats-officedocument.presentationml.tags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tags/tag105.xml" ContentType="application/vnd.openxmlformats-officedocument.presentationml.tags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tags/tag112.xml" ContentType="application/vnd.openxmlformats-officedocument.presentationml.tags+xml"/>
  <Override PartName="/ppt/drawings/drawing3.xml" ContentType="application/vnd.openxmlformats-officedocument.drawingml.chartshapes+xml"/>
  <Override PartName="/ppt/tags/tag123.xml" ContentType="application/vnd.openxmlformats-officedocument.presentationml.tags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tags/tag101.xml" ContentType="application/vnd.openxmlformats-officedocument.presentationml.tags+xml"/>
  <Override PartName="/ppt/tags/tag130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tags/tag86.xml" ContentType="application/vnd.openxmlformats-officedocument.presentationml.tags+xml"/>
  <Override PartName="/ppt/tags/tag97.xml" ContentType="application/vnd.openxmlformats-officedocument.presentationml.tags+xml"/>
  <Default Extension="emf" ContentType="image/x-emf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tags/tag82.xml" ContentType="application/vnd.openxmlformats-officedocument.presentationml.tags+xml"/>
  <Override PartName="/ppt/tags/tag93.xml" ContentType="application/vnd.openxmlformats-officedocument.presentationml.tags+xml"/>
  <Override PartName="/ppt/charts/chart8.xml" ContentType="application/vnd.openxmlformats-officedocument.drawingml.chart+xml"/>
  <Default Extension="wdp" ContentType="image/vnd.ms-photo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diagrams/layout2.xml" ContentType="application/vnd.openxmlformats-officedocument.drawingml.diagramLayout+xml"/>
  <Override PartName="/ppt/tags/tag128.xml" ContentType="application/vnd.openxmlformats-officedocument.presentationml.tags+xml"/>
  <Default Extension="gif" ContentType="image/gif"/>
  <Override PartName="/ppt/tags/tag13.xml" ContentType="application/vnd.openxmlformats-officedocument.presentationml.tags+xml"/>
  <Override PartName="/ppt/charts/chart4.xml" ContentType="application/vnd.openxmlformats-officedocument.drawingml.chart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tags/tag117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ags/tag106.xml" ContentType="application/vnd.openxmlformats-officedocument.presentationml.tags+xml"/>
  <Override PartName="/ppt/notesSlides/notesSlide4.xml" ContentType="application/vnd.openxmlformats-officedocument.presentationml.notesSlide+xml"/>
  <Override PartName="/ppt/tags/tag124.xml" ContentType="application/vnd.openxmlformats-officedocument.presentationml.tags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diagrams/colors1.xml" ContentType="application/vnd.openxmlformats-officedocument.drawingml.diagramColors+xml"/>
  <Override PartName="/ppt/tags/tag131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tags/tag98.xml" ContentType="application/vnd.openxmlformats-officedocument.presentationml.tags+xml"/>
  <Override PartName="/ppt/tags/tag102.xml" ContentType="application/vnd.openxmlformats-officedocument.presentationml.tags+xml"/>
  <Override PartName="/ppt/tags/tag120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tags/tag87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tags/tag76.xml" ContentType="application/vnd.openxmlformats-officedocument.presentationml.tags+xml"/>
  <Override PartName="/ppt/tags/tag94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83.xml" ContentType="application/vnd.openxmlformats-officedocument.presentationml.tags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90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charts/chart5.xml" ContentType="application/vnd.openxmlformats-officedocument.drawingml.chart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slides/slide7.xml" ContentType="application/vnd.openxmlformats-officedocument.presentationml.slide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25.xml" ContentType="application/vnd.openxmlformats-officedocument.presentationml.tags+xml"/>
  <Default Extension="wmv" ContentType="video/x-ms-wmv"/>
  <Override PartName="/ppt/slides/slide28.xml" ContentType="application/vnd.openxmlformats-officedocument.presentationml.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103.xml" ContentType="application/vnd.openxmlformats-officedocument.presentationml.tags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drawings/drawing1.xml" ContentType="application/vnd.openxmlformats-officedocument.drawingml.chartshapes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diagrams/drawing1.xml" ContentType="application/vnd.ms-office.drawingml.diagramDrawing+xml"/>
  <Override PartName="/ppt/tags/tag121.xml" ContentType="application/vnd.openxmlformats-officedocument.presentationml.tags+xml"/>
  <Override PartName="/ppt/slides/slide24.xml" ContentType="application/vnd.openxmlformats-officedocument.presentationml.slide+xml"/>
  <Override PartName="/ppt/tags/tag3.xml" ContentType="application/vnd.openxmlformats-officedocument.presentationml.tags+xml"/>
  <Default Extension="jpeg" ContentType="image/jpeg"/>
  <Override PartName="/ppt/tags/tag59.xml" ContentType="application/vnd.openxmlformats-officedocument.presentationml.tags+xml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diagrams/quickStyle1.xml" ContentType="application/vnd.openxmlformats-officedocument.drawingml.diagramStyle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Default Extension="wav" ContentType="audio/wav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tags/tag84.xml" ContentType="application/vnd.openxmlformats-officedocument.presentationml.tags+xml"/>
  <Override PartName="/ppt/tags/tag95.xml" ContentType="application/vnd.openxmlformats-officedocument.presentationml.tags+xml"/>
  <Override PartName="/ppt/slides/slide20.xml" ContentType="application/vnd.openxmlformats-officedocument.presentationml.slide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tags/tag15.xml" ContentType="application/vnd.openxmlformats-officedocument.presentationml.tags+xml"/>
  <Override PartName="/ppt/charts/chart6.xml" ContentType="application/vnd.openxmlformats-officedocument.drawingml.chart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19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ags/tag108.xml" ContentType="application/vnd.openxmlformats-officedocument.presentationml.tags+xml"/>
  <Override PartName="/ppt/tags/tag126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charts/chart2.xml" ContentType="application/vnd.openxmlformats-officedocument.drawingml.chart+xml"/>
  <Override PartName="/ppt/tags/tag115.xml" ContentType="application/vnd.openxmlformats-officedocument.presentationml.tags+xml"/>
  <Override PartName="/ppt/diagrams/data1.xml" ContentType="application/vnd.openxmlformats-officedocument.drawingml.diagramData+xml"/>
  <Override PartName="/ppt/slides/slide29.xml" ContentType="application/vnd.openxmlformats-officedocument.presentationml.slide+xml"/>
  <Override PartName="/ppt/diagrams/drawing2.xml" ContentType="application/vnd.ms-office.drawingml.diagramDrawing+xml"/>
  <Override PartName="/ppt/tags/tag122.xml" ContentType="application/vnd.openxmlformats-officedocument.presentationml.tags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drawings/drawing2.xml" ContentType="application/vnd.openxmlformats-officedocument.drawingml.chartshapes+xml"/>
  <Override PartName="/ppt/tags/tag89.xml" ContentType="application/vnd.openxmlformats-officedocument.presentationml.tags+xml"/>
  <Override PartName="/ppt/tags/tag111.xml" ContentType="application/vnd.openxmlformats-officedocument.presentationml.tags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100.xml" ContentType="application/vnd.openxmlformats-officedocument.presentationml.tags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charts/chart7.xml" ContentType="application/vnd.openxmlformats-officedocument.drawingml.char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90" r:id="rId4"/>
  </p:sldMasterIdLst>
  <p:notesMasterIdLst>
    <p:notesMasterId r:id="rId37"/>
  </p:notesMasterIdLst>
  <p:handoutMasterIdLst>
    <p:handoutMasterId r:id="rId38"/>
  </p:handoutMasterIdLst>
  <p:sldIdLst>
    <p:sldId id="929" r:id="rId5"/>
    <p:sldId id="894" r:id="rId6"/>
    <p:sldId id="966" r:id="rId7"/>
    <p:sldId id="979" r:id="rId8"/>
    <p:sldId id="981" r:id="rId9"/>
    <p:sldId id="983" r:id="rId10"/>
    <p:sldId id="993" r:id="rId11"/>
    <p:sldId id="898" r:id="rId12"/>
    <p:sldId id="1001" r:id="rId13"/>
    <p:sldId id="995" r:id="rId14"/>
    <p:sldId id="996" r:id="rId15"/>
    <p:sldId id="895" r:id="rId16"/>
    <p:sldId id="938" r:id="rId17"/>
    <p:sldId id="905" r:id="rId18"/>
    <p:sldId id="913" r:id="rId19"/>
    <p:sldId id="906" r:id="rId20"/>
    <p:sldId id="934" r:id="rId21"/>
    <p:sldId id="870" r:id="rId22"/>
    <p:sldId id="910" r:id="rId23"/>
    <p:sldId id="961" r:id="rId24"/>
    <p:sldId id="911" r:id="rId25"/>
    <p:sldId id="965" r:id="rId26"/>
    <p:sldId id="989" r:id="rId27"/>
    <p:sldId id="871" r:id="rId28"/>
    <p:sldId id="984" r:id="rId29"/>
    <p:sldId id="1002" r:id="rId30"/>
    <p:sldId id="1003" r:id="rId31"/>
    <p:sldId id="985" r:id="rId32"/>
    <p:sldId id="990" r:id="rId33"/>
    <p:sldId id="944" r:id="rId34"/>
    <p:sldId id="997" r:id="rId35"/>
    <p:sldId id="999" r:id="rId36"/>
  </p:sldIdLst>
  <p:sldSz cx="9144000" cy="6858000" type="screen4x3"/>
  <p:notesSz cx="6805613" cy="9939338"/>
  <p:custDataLst>
    <p:tags r:id="rId3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000" kern="1200">
        <a:solidFill>
          <a:srgbClr val="000000"/>
        </a:solidFill>
        <a:latin typeface="Arial" charset="0"/>
        <a:ea typeface="+mn-ea"/>
        <a:cs typeface="+mn-cs"/>
      </a:defRPr>
    </a:lvl1pPr>
    <a:lvl2pPr marL="455613" indent="1588" algn="l" rtl="0" fontAlgn="base">
      <a:spcBef>
        <a:spcPct val="0"/>
      </a:spcBef>
      <a:spcAft>
        <a:spcPct val="0"/>
      </a:spcAft>
      <a:defRPr sz="2000" kern="1200">
        <a:solidFill>
          <a:srgbClr val="000000"/>
        </a:solidFill>
        <a:latin typeface="Arial" charset="0"/>
        <a:ea typeface="+mn-ea"/>
        <a:cs typeface="+mn-cs"/>
      </a:defRPr>
    </a:lvl2pPr>
    <a:lvl3pPr marL="912813" indent="1588" algn="l" rtl="0" fontAlgn="base">
      <a:spcBef>
        <a:spcPct val="0"/>
      </a:spcBef>
      <a:spcAft>
        <a:spcPct val="0"/>
      </a:spcAft>
      <a:defRPr sz="2000" kern="1200">
        <a:solidFill>
          <a:srgbClr val="000000"/>
        </a:solidFill>
        <a:latin typeface="Arial" charset="0"/>
        <a:ea typeface="+mn-ea"/>
        <a:cs typeface="+mn-cs"/>
      </a:defRPr>
    </a:lvl3pPr>
    <a:lvl4pPr marL="1370013" indent="1588" algn="l" rtl="0" fontAlgn="base">
      <a:spcBef>
        <a:spcPct val="0"/>
      </a:spcBef>
      <a:spcAft>
        <a:spcPct val="0"/>
      </a:spcAft>
      <a:defRPr sz="2000" kern="1200">
        <a:solidFill>
          <a:srgbClr val="000000"/>
        </a:solidFill>
        <a:latin typeface="Arial" charset="0"/>
        <a:ea typeface="+mn-ea"/>
        <a:cs typeface="+mn-cs"/>
      </a:defRPr>
    </a:lvl4pPr>
    <a:lvl5pPr marL="1827213" indent="1588" algn="l" rtl="0" fontAlgn="base">
      <a:spcBef>
        <a:spcPct val="0"/>
      </a:spcBef>
      <a:spcAft>
        <a:spcPct val="0"/>
      </a:spcAft>
      <a:defRPr sz="2000" kern="1200">
        <a:solidFill>
          <a:srgbClr val="000000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rgbClr val="000000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rgbClr val="000000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rgbClr val="000000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rgbClr val="000000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F9900"/>
    <a:srgbClr val="FFFFCC"/>
    <a:srgbClr val="081AC4"/>
    <a:srgbClr val="FFFF99"/>
    <a:srgbClr val="0000FF"/>
    <a:srgbClr val="FFCC99"/>
    <a:srgbClr val="FF99FF"/>
    <a:srgbClr val="41D0FD"/>
    <a:srgbClr val="4EECF0"/>
    <a:srgbClr val="55D0E9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418" autoAdjust="0"/>
    <p:restoredTop sz="95708" autoAdjust="0"/>
  </p:normalViewPr>
  <p:slideViewPr>
    <p:cSldViewPr snapToGrid="0">
      <p:cViewPr>
        <p:scale>
          <a:sx n="68" d="100"/>
          <a:sy n="68" d="100"/>
        </p:scale>
        <p:origin x="-1812" y="-61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49" d="100"/>
          <a:sy n="49" d="100"/>
        </p:scale>
        <p:origin x="-1878" y="-90"/>
      </p:cViewPr>
      <p:guideLst>
        <p:guide orient="horz" pos="3131"/>
        <p:guide pos="2144"/>
      </p:guideLst>
    </p:cSldViewPr>
  </p:notesViewPr>
  <p:gridSpacing cx="36868100" cy="368681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slide" Target="slides/slide32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slide" Target="slides/slide31.xml"/><Relationship Id="rId43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1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Office_Excel_Worksheet2.xlsx"/><Relationship Id="rId1" Type="http://schemas.openxmlformats.org/officeDocument/2006/relationships/image" Target="../media/image25.jpeg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310097851\AppData\Local\Microsoft\Windows\Temporary%20Internet%20Files\Content.Outlook\RBL8PTFD\water%20consumption%20chart.xlsx" TargetMode="External"/><Relationship Id="rId2" Type="http://schemas.openxmlformats.org/officeDocument/2006/relationships/image" Target="../media/image27.jpeg"/><Relationship Id="rId1" Type="http://schemas.openxmlformats.org/officeDocument/2006/relationships/image" Target="../media/image26.jpeg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haixiang\Water%20Reclaim\Water%20efficiency%20management%20system\WEMP_Philips%20latest.xls" TargetMode="External"/><Relationship Id="rId2" Type="http://schemas.openxmlformats.org/officeDocument/2006/relationships/image" Target="../media/image25.jpeg"/><Relationship Id="rId1" Type="http://schemas.openxmlformats.org/officeDocument/2006/relationships/image" Target="../media/image30.jpeg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Microsoft_Office_Excel_Worksheet3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4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Office_Excel_Worksheet5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3.xml"/><Relationship Id="rId2" Type="http://schemas.openxmlformats.org/officeDocument/2006/relationships/package" Target="../embeddings/Microsoft_Office_Excel_Worksheet6.xlsx"/><Relationship Id="rId1" Type="http://schemas.openxmlformats.org/officeDocument/2006/relationships/image" Target="../media/image25.jpeg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style val="34"/>
  <c:chart>
    <c:title>
      <c:layout>
        <c:manualLayout>
          <c:xMode val="edge"/>
          <c:yMode val="edge"/>
          <c:x val="0.57411767952854154"/>
          <c:y val="6.235619550914541E-2"/>
        </c:manualLayout>
      </c:layout>
      <c:txPr>
        <a:bodyPr/>
        <a:lstStyle/>
        <a:p>
          <a:pPr>
            <a:defRPr sz="1000"/>
          </a:pPr>
          <a:endParaRPr lang="en-US"/>
        </a:p>
      </c:txPr>
    </c:title>
    <c:view3D>
      <c:rotX val="30"/>
      <c:perspective val="30"/>
    </c:view3D>
    <c:plotArea>
      <c:layout>
        <c:manualLayout>
          <c:layoutTarget val="inner"/>
          <c:xMode val="edge"/>
          <c:yMode val="edge"/>
          <c:x val="5.1691724204292314E-2"/>
          <c:y val="0.19849958005739249"/>
          <c:w val="0.92255614116946405"/>
          <c:h val="0.79779675944287665"/>
        </c:manualLayout>
      </c:layout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Water Consumption 2013</c:v>
                </c:pt>
              </c:strCache>
            </c:strRef>
          </c:tx>
          <c:dLbls>
            <c:dLbl>
              <c:idx val="0"/>
              <c:layout>
                <c:manualLayout>
                  <c:x val="-0.18827126994013349"/>
                  <c:y val="5.6891436012950103E-2"/>
                </c:manualLayout>
              </c:layout>
              <c:tx>
                <c:rich>
                  <a:bodyPr/>
                  <a:lstStyle/>
                  <a:p>
                    <a:pPr>
                      <a:defRPr sz="1200" b="1">
                        <a:solidFill>
                          <a:schemeClr val="accent6"/>
                        </a:solidFill>
                      </a:defRPr>
                    </a:pPr>
                    <a:r>
                      <a:rPr lang="en-US" sz="1200" b="1" dirty="0" smtClean="0">
                        <a:solidFill>
                          <a:schemeClr val="accent6"/>
                        </a:solidFill>
                      </a:rPr>
                      <a:t>Lumileds</a:t>
                    </a:r>
                  </a:p>
                  <a:p>
                    <a:pPr>
                      <a:defRPr sz="1200" b="1">
                        <a:solidFill>
                          <a:schemeClr val="accent6"/>
                        </a:solidFill>
                      </a:defRPr>
                    </a:pPr>
                    <a:r>
                      <a:rPr lang="en-US" sz="1200" b="1" dirty="0" smtClean="0">
                        <a:solidFill>
                          <a:schemeClr val="accent6"/>
                        </a:solidFill>
                      </a:rPr>
                      <a:t>37</a:t>
                    </a:r>
                    <a:r>
                      <a:rPr lang="en-US" sz="1200" b="1" dirty="0">
                        <a:solidFill>
                          <a:schemeClr val="accent6"/>
                        </a:solidFill>
                      </a:rPr>
                      <a:t>%</a:t>
                    </a:r>
                  </a:p>
                </c:rich>
              </c:tx>
              <c:spPr>
                <a:solidFill>
                  <a:srgbClr val="FFFFFF"/>
                </a:solidFill>
              </c:spPr>
              <c:showPercent val="1"/>
            </c:dLbl>
            <c:dLbl>
              <c:idx val="1"/>
              <c:layout>
                <c:manualLayout>
                  <c:x val="-9.5111828452847672E-2"/>
                  <c:y val="-0.27036721648041434"/>
                </c:manualLayout>
              </c:layout>
              <c:tx>
                <c:rich>
                  <a:bodyPr/>
                  <a:lstStyle/>
                  <a:p>
                    <a:r>
                      <a:rPr lang="en-US" sz="1000" b="1" smtClean="0"/>
                      <a:t>TL/CFL</a:t>
                    </a:r>
                  </a:p>
                  <a:p>
                    <a:r>
                      <a:rPr lang="en-US" sz="1000" b="1" smtClean="0"/>
                      <a:t>20</a:t>
                    </a:r>
                    <a:r>
                      <a:rPr lang="en-US" sz="1000" b="1"/>
                      <a:t>%</a:t>
                    </a:r>
                    <a:endParaRPr lang="en-US" sz="1100" b="1"/>
                  </a:p>
                </c:rich>
              </c:tx>
              <c:showPercent val="1"/>
            </c:dLbl>
            <c:dLbl>
              <c:idx val="2"/>
              <c:layout>
                <c:manualLayout>
                  <c:x val="0.11528706479133041"/>
                  <c:y val="-0.18888668548631704"/>
                </c:manualLayout>
              </c:layout>
              <c:tx>
                <c:rich>
                  <a:bodyPr/>
                  <a:lstStyle/>
                  <a:p>
                    <a:pPr algn="ctr">
                      <a:defRPr lang="en-US" sz="1000" b="1" i="0" u="none" strike="noStrike" kern="1200" baseline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000" b="1" smtClean="0"/>
                      <a:t>GLS</a:t>
                    </a:r>
                  </a:p>
                  <a:p>
                    <a:pPr algn="ctr">
                      <a:defRPr lang="en-US" sz="1000" b="1" i="0" u="none" strike="noStrike" kern="1200" baseline="0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r>
                      <a:rPr lang="en-US" sz="1000" b="1" smtClean="0"/>
                      <a:t>10</a:t>
                    </a:r>
                    <a:r>
                      <a:rPr lang="en-US" sz="1000" b="1"/>
                      <a:t>%</a:t>
                    </a:r>
                    <a:endParaRPr lang="en-US"/>
                  </a:p>
                </c:rich>
              </c:tx>
              <c:spPr/>
              <c:showPercent val="1"/>
            </c:dLbl>
            <c:dLbl>
              <c:idx val="3"/>
              <c:layout>
                <c:manualLayout>
                  <c:x val="8.9347475213281097E-2"/>
                  <c:y val="-0.12962811749060962"/>
                </c:manualLayout>
              </c:layout>
              <c:tx>
                <c:rich>
                  <a:bodyPr/>
                  <a:lstStyle/>
                  <a:p>
                    <a:r>
                      <a:rPr lang="en-US" sz="1000" dirty="0" err="1" smtClean="0"/>
                      <a:t>Aut</a:t>
                    </a:r>
                    <a:endParaRPr lang="en-US" sz="1000" dirty="0" smtClean="0"/>
                  </a:p>
                  <a:p>
                    <a:r>
                      <a:rPr lang="en-US" sz="1000" dirty="0" smtClean="0"/>
                      <a:t>9</a:t>
                    </a:r>
                    <a:r>
                      <a:rPr lang="en-US" sz="1000" dirty="0"/>
                      <a:t>%</a:t>
                    </a:r>
                    <a:endParaRPr lang="en-US" dirty="0"/>
                  </a:p>
                </c:rich>
              </c:tx>
              <c:showPercent val="1"/>
            </c:dLbl>
            <c:dLbl>
              <c:idx val="4"/>
              <c:layout>
                <c:manualLayout>
                  <c:x val="1.4410656155875366E-2"/>
                  <c:y val="-2.2221962998390243E-2"/>
                </c:manualLayout>
              </c:layout>
              <c:tx>
                <c:rich>
                  <a:bodyPr/>
                  <a:lstStyle/>
                  <a:p>
                    <a:pPr>
                      <a:defRPr sz="900" b="1"/>
                    </a:pPr>
                    <a:r>
                      <a:rPr lang="en-US" sz="900" smtClean="0"/>
                      <a:t>HID</a:t>
                    </a:r>
                  </a:p>
                  <a:p>
                    <a:pPr>
                      <a:defRPr sz="900" b="1"/>
                    </a:pPr>
                    <a:r>
                      <a:rPr lang="en-US" sz="900" smtClean="0"/>
                      <a:t>8</a:t>
                    </a:r>
                    <a:r>
                      <a:rPr lang="en-US" sz="900"/>
                      <a:t>%</a:t>
                    </a:r>
                  </a:p>
                </c:rich>
              </c:tx>
              <c:spPr/>
              <c:showPercent val="1"/>
            </c:dLbl>
            <c:dLbl>
              <c:idx val="5"/>
              <c:layout>
                <c:manualLayout>
                  <c:x val="-1.3209823572997514E-17"/>
                  <c:y val="-1.8518302498658521E-2"/>
                </c:manualLayout>
              </c:layout>
              <c:tx>
                <c:rich>
                  <a:bodyPr/>
                  <a:lstStyle/>
                  <a:p>
                    <a:pPr>
                      <a:defRPr sz="900" b="1"/>
                    </a:pPr>
                    <a:r>
                      <a:rPr lang="en-US" sz="900" smtClean="0"/>
                      <a:t>PLS NA</a:t>
                    </a:r>
                  </a:p>
                  <a:p>
                    <a:pPr>
                      <a:defRPr sz="900" b="1"/>
                    </a:pPr>
                    <a:r>
                      <a:rPr lang="en-US" sz="900" smtClean="0"/>
                      <a:t>7</a:t>
                    </a:r>
                    <a:r>
                      <a:rPr lang="en-US" sz="900"/>
                      <a:t>%</a:t>
                    </a:r>
                  </a:p>
                </c:rich>
              </c:tx>
              <c:spPr/>
              <c:showPercent val="1"/>
            </c:dLbl>
            <c:dLbl>
              <c:idx val="6"/>
              <c:layout/>
              <c:tx>
                <c:rich>
                  <a:bodyPr/>
                  <a:lstStyle/>
                  <a:p>
                    <a:pPr>
                      <a:defRPr sz="900" b="1"/>
                    </a:pPr>
                    <a:r>
                      <a:rPr lang="en-US" sz="900" smtClean="0"/>
                      <a:t>Cons</a:t>
                    </a:r>
                    <a:r>
                      <a:rPr lang="en-US" sz="900" baseline="0" smtClean="0"/>
                      <a:t> lum</a:t>
                    </a:r>
                  </a:p>
                  <a:p>
                    <a:pPr>
                      <a:defRPr sz="900" b="1"/>
                    </a:pPr>
                    <a:r>
                      <a:rPr lang="en-US" sz="900" smtClean="0"/>
                      <a:t>4</a:t>
                    </a:r>
                    <a:r>
                      <a:rPr lang="en-US" sz="900"/>
                      <a:t>%</a:t>
                    </a:r>
                  </a:p>
                </c:rich>
              </c:tx>
              <c:spPr/>
              <c:showPercent val="1"/>
            </c:dLbl>
            <c:dLbl>
              <c:idx val="7"/>
              <c:layout>
                <c:manualLayout>
                  <c:x val="0"/>
                  <c:y val="-1.4814641998926808E-2"/>
                </c:manualLayout>
              </c:layout>
              <c:tx>
                <c:rich>
                  <a:bodyPr/>
                  <a:lstStyle/>
                  <a:p>
                    <a:pPr>
                      <a:defRPr sz="900" b="1"/>
                    </a:pPr>
                    <a:r>
                      <a:rPr lang="en-US" sz="900" smtClean="0"/>
                      <a:t>CFL-I</a:t>
                    </a:r>
                  </a:p>
                  <a:p>
                    <a:pPr>
                      <a:defRPr sz="900" b="1"/>
                    </a:pPr>
                    <a:r>
                      <a:rPr lang="en-US" sz="900" smtClean="0"/>
                      <a:t>2</a:t>
                    </a:r>
                    <a:r>
                      <a:rPr lang="en-US" sz="900"/>
                      <a:t>%</a:t>
                    </a:r>
                  </a:p>
                </c:rich>
              </c:tx>
              <c:spPr/>
              <c:showPercent val="1"/>
            </c:dLbl>
            <c:dLbl>
              <c:idx val="8"/>
              <c:layout>
                <c:manualLayout>
                  <c:x val="8.6465298593497962E-3"/>
                  <c:y val="-0.11481347549168279"/>
                </c:manualLayout>
              </c:layout>
              <c:tx>
                <c:rich>
                  <a:bodyPr/>
                  <a:lstStyle/>
                  <a:p>
                    <a:pPr>
                      <a:defRPr sz="900" b="1"/>
                    </a:pPr>
                    <a:r>
                      <a:rPr lang="en-US" sz="900" smtClean="0"/>
                      <a:t>PLS EMEA</a:t>
                    </a:r>
                  </a:p>
                  <a:p>
                    <a:pPr>
                      <a:defRPr sz="900" b="1"/>
                    </a:pPr>
                    <a:r>
                      <a:rPr lang="en-US" sz="900" smtClean="0"/>
                      <a:t>2</a:t>
                    </a:r>
                    <a:r>
                      <a:rPr lang="en-US" sz="900"/>
                      <a:t>%</a:t>
                    </a:r>
                  </a:p>
                </c:rich>
              </c:tx>
              <c:spPr/>
              <c:showPercent val="1"/>
            </c:dLbl>
            <c:dLbl>
              <c:idx val="9"/>
              <c:layout>
                <c:manualLayout>
                  <c:x val="1.126613338077956E-2"/>
                  <c:y val="-4.6536056738912354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LE</a:t>
                    </a:r>
                  </a:p>
                  <a:p>
                    <a:r>
                      <a:rPr lang="en-US" smtClean="0"/>
                      <a:t>1</a:t>
                    </a:r>
                    <a:r>
                      <a:rPr lang="en-US"/>
                      <a:t>%</a:t>
                    </a:r>
                  </a:p>
                </c:rich>
              </c:tx>
              <c:showPercent val="1"/>
            </c:dLbl>
            <c:txPr>
              <a:bodyPr/>
              <a:lstStyle/>
              <a:p>
                <a:pPr>
                  <a:defRPr sz="1000" b="1"/>
                </a:pPr>
                <a:endParaRPr lang="en-US"/>
              </a:p>
            </c:txPr>
            <c:showPercent val="1"/>
            <c:showLeaderLines val="1"/>
          </c:dLbls>
          <c:cat>
            <c:strRef>
              <c:f>Sheet1!$A$2:$A$11</c:f>
              <c:strCache>
                <c:ptCount val="10"/>
                <c:pt idx="0">
                  <c:v>Lumileds</c:v>
                </c:pt>
                <c:pt idx="1">
                  <c:v>2nd Qtr</c:v>
                </c:pt>
                <c:pt idx="2">
                  <c:v>3rd Qtr</c:v>
                </c:pt>
                <c:pt idx="9">
                  <c:v>4th Qtr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37</c:v>
                </c:pt>
                <c:pt idx="1">
                  <c:v>20</c:v>
                </c:pt>
                <c:pt idx="2">
                  <c:v>10</c:v>
                </c:pt>
                <c:pt idx="3">
                  <c:v>9</c:v>
                </c:pt>
                <c:pt idx="4">
                  <c:v>8</c:v>
                </c:pt>
                <c:pt idx="5">
                  <c:v>7</c:v>
                </c:pt>
                <c:pt idx="6">
                  <c:v>4</c:v>
                </c:pt>
                <c:pt idx="7">
                  <c:v>2</c:v>
                </c:pt>
                <c:pt idx="8">
                  <c:v>2</c:v>
                </c:pt>
                <c:pt idx="9">
                  <c:v>1</c:v>
                </c:pt>
              </c:numCache>
            </c:numRef>
          </c:val>
        </c:ser>
        <c:dLbls>
          <c:showPercent val="1"/>
        </c:dLbls>
      </c:pie3DChart>
      <c:spPr>
        <a:scene3d>
          <a:camera prst="orthographicFront"/>
          <a:lightRig rig="threePt" dir="t"/>
        </a:scene3d>
      </c:spPr>
    </c:plotArea>
    <c:plotVisOnly val="1"/>
    <c:dispBlanksAs val="zero"/>
  </c:chart>
  <c:spPr>
    <a:ln>
      <a:noFill/>
    </a:ln>
  </c:spPr>
  <c:txPr>
    <a:bodyPr/>
    <a:lstStyle/>
    <a:p>
      <a:pPr>
        <a:defRPr sz="1800"/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style val="48"/>
  <c:chart>
    <c:autoTitleDeleted val="1"/>
    <c:view3D>
      <c:perspective val="30"/>
    </c:view3D>
    <c:plotArea>
      <c:layout>
        <c:manualLayout>
          <c:layoutTarget val="inner"/>
          <c:xMode val="edge"/>
          <c:yMode val="edge"/>
          <c:x val="5.9037073490813739E-2"/>
          <c:y val="9.4783511371977311E-2"/>
          <c:w val="0.94096295527094009"/>
          <c:h val="0.903793671695446"/>
        </c:manualLayout>
      </c:layout>
      <c:bar3DChart>
        <c:barDir val="col"/>
        <c:grouping val="standard"/>
        <c:ser>
          <c:idx val="0"/>
          <c:order val="0"/>
          <c:tx>
            <c:strRef>
              <c:f>Sheet1!$B$1</c:f>
              <c:strCache>
                <c:ptCount val="1"/>
                <c:pt idx="0">
                  <c:v>Water Efficiency Index</c:v>
                </c:pt>
              </c:strCache>
            </c:strRef>
          </c:tx>
          <c:spPr>
            <a:blipFill>
              <a:blip xmlns:r="http://schemas.openxmlformats.org/officeDocument/2006/relationships" r:embed="rId1"/>
              <a:stretch>
                <a:fillRect/>
              </a:stretch>
            </a:blipFill>
          </c:spPr>
          <c:dLbls>
            <c:dLbl>
              <c:idx val="0"/>
              <c:layout/>
              <c:showVal val="1"/>
            </c:dLbl>
            <c:dLbl>
              <c:idx val="1"/>
              <c:layout/>
              <c:showVal val="1"/>
            </c:dLbl>
            <c:dLbl>
              <c:idx val="2"/>
              <c:layout/>
              <c:showVal val="1"/>
            </c:dLbl>
            <c:dLbl>
              <c:idx val="3"/>
              <c:showVal val="1"/>
            </c:dLbl>
            <c:dLbl>
              <c:idx val="4"/>
              <c:showVal val="1"/>
            </c:dLbl>
            <c:delete val="1"/>
          </c:dLbls>
          <c:cat>
            <c:numRef>
              <c:f>Sheet1!$A$2:$A$4</c:f>
              <c:numCache>
                <c:formatCode>General</c:formatCode>
                <c:ptCount val="3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0.76000000000000056</c:v>
                </c:pt>
                <c:pt idx="1">
                  <c:v>0.66000000000000081</c:v>
                </c:pt>
                <c:pt idx="2">
                  <c:v>0.6900000000000005</c:v>
                </c:pt>
              </c:numCache>
            </c:numRef>
          </c:val>
        </c:ser>
        <c:dLbls/>
        <c:gapWidth val="300"/>
        <c:shape val="box"/>
        <c:axId val="107558016"/>
        <c:axId val="107559552"/>
        <c:axId val="102223360"/>
      </c:bar3DChart>
      <c:catAx>
        <c:axId val="107558016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07559552"/>
        <c:crosses val="autoZero"/>
        <c:auto val="1"/>
        <c:lblAlgn val="ctr"/>
        <c:lblOffset val="100"/>
      </c:catAx>
      <c:valAx>
        <c:axId val="107559552"/>
        <c:scaling>
          <c:orientation val="minMax"/>
        </c:scaling>
        <c:axPos val="l"/>
        <c:majorGridlines/>
        <c:minorGridlines>
          <c:spPr>
            <a:ln>
              <a:solidFill>
                <a:schemeClr val="accent4">
                  <a:lumMod val="75000"/>
                </a:schemeClr>
              </a:solidFill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c:spPr>
        </c:minorGridlines>
        <c:title>
          <c:tx>
            <c:rich>
              <a:bodyPr/>
              <a:lstStyle/>
              <a:p>
                <a:pPr>
                  <a:defRPr sz="1200"/>
                </a:pPr>
                <a:r>
                  <a:rPr lang="en-US" sz="1200" dirty="0" smtClean="0"/>
                  <a:t>Water use per year / Business Activity Indicator</a:t>
                </a:r>
                <a:endParaRPr lang="en-US" sz="1200" dirty="0"/>
              </a:p>
            </c:rich>
          </c:tx>
          <c:layout>
            <c:manualLayout>
              <c:xMode val="edge"/>
              <c:yMode val="edge"/>
              <c:x val="2.2222222222222247E-2"/>
              <c:y val="0.13246137314290782"/>
            </c:manualLayout>
          </c:layout>
        </c:title>
        <c:numFmt formatCode="General" sourceLinked="1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07558016"/>
        <c:crosses val="autoZero"/>
        <c:crossBetween val="between"/>
      </c:valAx>
      <c:serAx>
        <c:axId val="102223360"/>
        <c:scaling>
          <c:orientation val="minMax"/>
        </c:scaling>
        <c:delete val="1"/>
        <c:axPos val="b"/>
        <c:tickLblPos val="none"/>
        <c:crossAx val="107559552"/>
        <c:crosses val="autoZero"/>
      </c:serAx>
    </c:plotArea>
    <c:plotVisOnly val="1"/>
    <c:dispBlanksAs val="gap"/>
  </c:chart>
  <c:spPr>
    <a:gradFill>
      <a:gsLst>
        <a:gs pos="0">
          <a:srgbClr val="000000"/>
        </a:gs>
        <a:gs pos="39999">
          <a:srgbClr val="0A128C"/>
        </a:gs>
        <a:gs pos="70000">
          <a:srgbClr val="181CC7"/>
        </a:gs>
        <a:gs pos="88000">
          <a:srgbClr val="7005D4"/>
        </a:gs>
        <a:gs pos="100000">
          <a:srgbClr val="8C3D91"/>
        </a:gs>
      </a:gsLst>
      <a:lin ang="5400000" scaled="0"/>
    </a:gradFill>
    <a:scene3d>
      <a:camera prst="orthographicFront"/>
      <a:lightRig rig="threePt" dir="t"/>
    </a:scene3d>
    <a:sp3d>
      <a:bevelT/>
      <a:bevelB prst="angle"/>
    </a:sp3d>
  </c:spPr>
  <c:txPr>
    <a:bodyPr/>
    <a:lstStyle/>
    <a:p>
      <a:pPr>
        <a:defRPr sz="1800"/>
      </a:pPr>
      <a:endParaRPr lang="en-US"/>
    </a:p>
  </c:txPr>
  <c:externalData r:id="rId2"/>
  <c:userShapes r:id="rId3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title>
      <c:tx>
        <c:rich>
          <a:bodyPr/>
          <a:lstStyle/>
          <a:p>
            <a:pPr>
              <a:defRPr sz="1200"/>
            </a:pPr>
            <a:r>
              <a:rPr lang="en-US" sz="1200" b="1" i="0" baseline="0" dirty="0" smtClean="0">
                <a:effectLst/>
              </a:rPr>
              <a:t>Increasing Trend of Water Consumption  (000m3) Year 2011 - 2013</a:t>
            </a:r>
            <a:endParaRPr lang="en-US" sz="1200" dirty="0">
              <a:effectLst/>
            </a:endParaRPr>
          </a:p>
        </c:rich>
      </c:tx>
      <c:layout>
        <c:manualLayout>
          <c:xMode val="edge"/>
          <c:yMode val="edge"/>
          <c:x val="9.9422149696076767E-2"/>
          <c:y val="1.2230680260163591E-2"/>
        </c:manualLayout>
      </c:layout>
    </c:title>
    <c:plotArea>
      <c:layout>
        <c:manualLayout>
          <c:layoutTarget val="inner"/>
          <c:xMode val="edge"/>
          <c:yMode val="edge"/>
          <c:x val="6.390785658834898E-2"/>
          <c:y val="0.1426549949809269"/>
          <c:w val="0.8575784831019837"/>
          <c:h val="0.79253827646544184"/>
        </c:manualLayout>
      </c:layout>
      <c:barChart>
        <c:barDir val="col"/>
        <c:grouping val="clustered"/>
        <c:ser>
          <c:idx val="0"/>
          <c:order val="0"/>
          <c:spPr>
            <a:blipFill>
              <a:blip xmlns:r="http://schemas.openxmlformats.org/officeDocument/2006/relationships" r:embed="rId1"/>
              <a:stretch>
                <a:fillRect/>
              </a:stretch>
            </a:blipFill>
            <a:scene3d>
              <a:camera prst="orthographicFront"/>
              <a:lightRig rig="threePt" dir="t"/>
            </a:scene3d>
            <a:sp3d>
              <a:bevelT/>
            </a:sp3d>
          </c:spPr>
          <c:dLbls>
            <c:dLbl>
              <c:idx val="0"/>
              <c:layout>
                <c:manualLayout>
                  <c:x val="2.4926461657081827E-3"/>
                  <c:y val="0.4807845098595015"/>
                </c:manualLayout>
              </c:layout>
              <c:tx>
                <c:rich>
                  <a:bodyPr/>
                  <a:lstStyle/>
                  <a:p>
                    <a:pPr>
                      <a:defRPr sz="1100" b="1"/>
                    </a:pPr>
                    <a:r>
                      <a:rPr lang="en-US" sz="1100" dirty="0" smtClean="0"/>
                      <a:t> 606</a:t>
                    </a:r>
                  </a:p>
                  <a:p>
                    <a:pPr>
                      <a:defRPr sz="1100" b="1"/>
                    </a:pPr>
                    <a:endParaRPr lang="en-US" sz="1100" dirty="0" smtClean="0"/>
                  </a:p>
                  <a:p>
                    <a:pPr>
                      <a:defRPr sz="1100" b="1"/>
                    </a:pPr>
                    <a:r>
                      <a:rPr lang="en-US" sz="1100" dirty="0" smtClean="0"/>
                      <a:t>2011</a:t>
                    </a:r>
                    <a:endParaRPr lang="en-US" sz="1100" dirty="0"/>
                  </a:p>
                </c:rich>
              </c:tx>
              <c:spPr/>
              <c:showVal val="1"/>
            </c:dLbl>
            <c:dLbl>
              <c:idx val="1"/>
              <c:layout>
                <c:manualLayout>
                  <c:x val="-1.9032832163580279E-4"/>
                  <c:y val="0.61990384309802848"/>
                </c:manualLayout>
              </c:layout>
              <c:tx>
                <c:rich>
                  <a:bodyPr/>
                  <a:lstStyle/>
                  <a:p>
                    <a:pPr>
                      <a:defRPr sz="1100" b="1"/>
                    </a:pPr>
                    <a:r>
                      <a:rPr lang="en-US" sz="1100" dirty="0" smtClean="0"/>
                      <a:t> 711</a:t>
                    </a:r>
                  </a:p>
                  <a:p>
                    <a:pPr>
                      <a:defRPr sz="1100" b="1"/>
                    </a:pPr>
                    <a:endParaRPr lang="en-US" sz="1100" dirty="0" smtClean="0"/>
                  </a:p>
                  <a:p>
                    <a:pPr>
                      <a:defRPr sz="1100" b="1"/>
                    </a:pPr>
                    <a:r>
                      <a:rPr lang="en-US" sz="1100" dirty="0" smtClean="0"/>
                      <a:t>2012</a:t>
                    </a:r>
                    <a:endParaRPr lang="en-US" sz="1100" dirty="0"/>
                  </a:p>
                </c:rich>
              </c:tx>
              <c:spPr/>
              <c:showVal val="1"/>
            </c:dLbl>
            <c:dLbl>
              <c:idx val="2"/>
              <c:layout>
                <c:manualLayout>
                  <c:x val="5.270467952069373E-3"/>
                  <c:y val="0.74162671899642951"/>
                </c:manualLayout>
              </c:layout>
              <c:tx>
                <c:rich>
                  <a:bodyPr/>
                  <a:lstStyle/>
                  <a:p>
                    <a:pPr>
                      <a:defRPr sz="1050" b="1"/>
                    </a:pPr>
                    <a:endParaRPr lang="en-US" sz="1050" b="1" dirty="0" smtClean="0"/>
                  </a:p>
                  <a:p>
                    <a:pPr>
                      <a:defRPr sz="1050" b="1"/>
                    </a:pPr>
                    <a:r>
                      <a:rPr lang="en-US" sz="1050" b="1" dirty="0" smtClean="0">
                        <a:solidFill>
                          <a:srgbClr val="FF0000"/>
                        </a:solidFill>
                      </a:rPr>
                      <a:t>880</a:t>
                    </a:r>
                    <a:r>
                      <a:rPr lang="en-US" sz="1050" b="1" dirty="0" smtClean="0"/>
                      <a:t> </a:t>
                    </a:r>
                  </a:p>
                  <a:p>
                    <a:pPr>
                      <a:defRPr sz="1050" b="1"/>
                    </a:pPr>
                    <a:r>
                      <a:rPr lang="en-US" sz="1050" b="1" baseline="0" dirty="0" smtClean="0">
                        <a:solidFill>
                          <a:srgbClr val="FF0000"/>
                        </a:solidFill>
                      </a:rPr>
                      <a:t>Forecast</a:t>
                    </a:r>
                  </a:p>
                  <a:p>
                    <a:pPr>
                      <a:defRPr sz="1050" b="1"/>
                    </a:pPr>
                    <a:endParaRPr lang="en-US" sz="1050" b="1" baseline="0" dirty="0" smtClean="0"/>
                  </a:p>
                  <a:p>
                    <a:pPr>
                      <a:defRPr sz="1050" b="1"/>
                    </a:pPr>
                    <a:r>
                      <a:rPr lang="en-US" sz="1050" b="1" baseline="0" dirty="0" smtClean="0"/>
                      <a:t>2013</a:t>
                    </a:r>
                    <a:endParaRPr lang="en-US" sz="1050" b="1" dirty="0"/>
                  </a:p>
                </c:rich>
              </c:tx>
              <c:spPr/>
              <c:showVal val="1"/>
            </c:dLbl>
            <c:showVal val="1"/>
          </c:dLbls>
          <c:cat>
            <c:strRef>
              <c:f>Sheet1!$Q$2:$Q$4</c:f>
              <c:strCache>
                <c:ptCount val="3"/>
                <c:pt idx="0">
                  <c:v>2011 Total </c:v>
                </c:pt>
                <c:pt idx="1">
                  <c:v>2012 Total</c:v>
                </c:pt>
                <c:pt idx="2">
                  <c:v>2013 Total</c:v>
                </c:pt>
              </c:strCache>
            </c:strRef>
          </c:cat>
          <c:val>
            <c:numRef>
              <c:f>Sheet1!$R$2:$R$4</c:f>
              <c:numCache>
                <c:formatCode>_(* #,##0_);_(* \(#,##0\);_(* "-"??_);_(@_)</c:formatCode>
                <c:ptCount val="3"/>
                <c:pt idx="0">
                  <c:v>605661.20000000007</c:v>
                </c:pt>
                <c:pt idx="1">
                  <c:v>710983</c:v>
                </c:pt>
                <c:pt idx="2">
                  <c:v>831850.11</c:v>
                </c:pt>
              </c:numCache>
            </c:numRef>
          </c:val>
        </c:ser>
        <c:dLbls/>
        <c:axId val="107950080"/>
        <c:axId val="107951616"/>
      </c:barChart>
      <c:catAx>
        <c:axId val="107950080"/>
        <c:scaling>
          <c:orientation val="minMax"/>
        </c:scaling>
        <c:axPos val="b"/>
        <c:majorTickMark val="none"/>
        <c:tickLblPos val="nextTo"/>
        <c:crossAx val="107951616"/>
        <c:crosses val="autoZero"/>
        <c:auto val="1"/>
        <c:lblAlgn val="ctr"/>
        <c:lblOffset val="100"/>
      </c:catAx>
      <c:valAx>
        <c:axId val="107951616"/>
        <c:scaling>
          <c:orientation val="minMax"/>
          <c:min val="300000"/>
        </c:scaling>
        <c:axPos val="l"/>
        <c:majorGridlines/>
        <c:numFmt formatCode="_(* #,##0_);_(* \(#,##0\);_(* &quot;-&quot;??_);_(@_)" sourceLinked="1"/>
        <c:majorTickMark val="none"/>
        <c:tickLblPos val="nextTo"/>
        <c:crossAx val="107950080"/>
        <c:crosses val="autoZero"/>
        <c:crossBetween val="between"/>
      </c:valAx>
      <c:spPr>
        <a:blipFill>
          <a:blip xmlns:r="http://schemas.openxmlformats.org/officeDocument/2006/relationships" r:embed="rId2"/>
          <a:tile tx="0" ty="0" sx="100000" sy="100000" flip="none" algn="tl"/>
        </a:blipFill>
      </c:spPr>
    </c:plotArea>
    <c:plotVisOnly val="1"/>
    <c:dispBlanksAs val="gap"/>
  </c:chart>
  <c:externalData r:id="rId3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style val="26"/>
  <c:chart>
    <c:autoTitleDeleted val="1"/>
    <c:view3D>
      <c:rotX val="30"/>
      <c:perspective val="30"/>
    </c:view3D>
    <c:plotArea>
      <c:layout>
        <c:manualLayout>
          <c:layoutTarget val="inner"/>
          <c:xMode val="edge"/>
          <c:yMode val="edge"/>
          <c:x val="6.0066137813250604E-2"/>
          <c:y val="0.24644966587302475"/>
          <c:w val="0.72754979796601571"/>
          <c:h val="0.55880138667910706"/>
        </c:manualLayout>
      </c:layout>
      <c:pie3DChart>
        <c:varyColors val="1"/>
        <c:ser>
          <c:idx val="0"/>
          <c:order val="0"/>
          <c:tx>
            <c:v>Types of PUB water used</c:v>
          </c:tx>
          <c:explosion val="6"/>
          <c:dPt>
            <c:idx val="0"/>
            <c:explosion val="13"/>
            <c:spPr>
              <a:blipFill>
                <a:blip xmlns:r="http://schemas.openxmlformats.org/officeDocument/2006/relationships" r:embed="rId1"/>
                <a:stretch>
                  <a:fillRect/>
                </a:stretch>
              </a:blipFill>
            </c:spPr>
          </c:dPt>
          <c:dPt>
            <c:idx val="1"/>
            <c:explosion val="10"/>
            <c:spPr>
              <a:blipFill>
                <a:blip xmlns:r="http://schemas.openxmlformats.org/officeDocument/2006/relationships" r:embed="rId2"/>
                <a:stretch>
                  <a:fillRect/>
                </a:stretch>
              </a:blipFill>
              <a:effectLst>
                <a:outerShdw blurRad="76200" dist="12700" dir="8100000" sy="-23000" kx="800400" algn="br" rotWithShape="0">
                  <a:prstClr val="black">
                    <a:alpha val="20000"/>
                  </a:prstClr>
                </a:outerShdw>
              </a:effectLst>
            </c:spPr>
          </c:dPt>
          <c:dLbls>
            <c:dLbl>
              <c:idx val="0"/>
              <c:layout>
                <c:manualLayout>
                  <c:x val="-0.11048184336455669"/>
                  <c:y val="-3.7397910664767366E-2"/>
                </c:manualLayout>
              </c:layout>
              <c:tx>
                <c:rich>
                  <a:bodyPr/>
                  <a:lstStyle/>
                  <a:p>
                    <a:pPr>
                      <a:defRPr b="1" cap="none" spc="0">
                        <a:ln w="1905"/>
                        <a:gradFill>
                          <a:gsLst>
                            <a:gs pos="0">
                              <a:schemeClr val="accent6">
                                <a:shade val="20000"/>
                                <a:satMod val="200000"/>
                              </a:schemeClr>
                            </a:gs>
                            <a:gs pos="78000">
                              <a:schemeClr val="accent6">
                                <a:tint val="90000"/>
                                <a:shade val="89000"/>
                                <a:satMod val="220000"/>
                              </a:schemeClr>
                            </a:gs>
                            <a:gs pos="100000">
                              <a:schemeClr val="accent6">
                                <a:tint val="12000"/>
                                <a:satMod val="255000"/>
                              </a:schemeClr>
                            </a:gs>
                          </a:gsLst>
                          <a:lin ang="5400000"/>
                        </a:gradFill>
                        <a:effectLst/>
                      </a:defRPr>
                    </a:pPr>
                    <a:r>
                      <a:rPr lang="en-US" dirty="0" smtClean="0">
                        <a:effectLst/>
                      </a:rPr>
                      <a:t>14.0% </a:t>
                    </a:r>
                  </a:p>
                  <a:p>
                    <a:pPr>
                      <a:defRPr b="1" cap="none" spc="0">
                        <a:ln w="1905"/>
                        <a:gradFill>
                          <a:gsLst>
                            <a:gs pos="0">
                              <a:schemeClr val="accent6">
                                <a:shade val="20000"/>
                                <a:satMod val="200000"/>
                              </a:schemeClr>
                            </a:gs>
                            <a:gs pos="78000">
                              <a:schemeClr val="accent6">
                                <a:tint val="90000"/>
                                <a:shade val="89000"/>
                                <a:satMod val="220000"/>
                              </a:schemeClr>
                            </a:gs>
                            <a:gs pos="100000">
                              <a:schemeClr val="accent6">
                                <a:tint val="12000"/>
                                <a:satMod val="255000"/>
                              </a:schemeClr>
                            </a:gs>
                          </a:gsLst>
                          <a:lin ang="5400000"/>
                        </a:gradFill>
                        <a:effectLst/>
                      </a:defRPr>
                    </a:pPr>
                    <a:r>
                      <a:rPr lang="en-US" dirty="0" smtClean="0">
                        <a:effectLst/>
                      </a:rPr>
                      <a:t>Potable</a:t>
                    </a:r>
                    <a:r>
                      <a:rPr lang="en-US" baseline="0" dirty="0" smtClean="0">
                        <a:effectLst/>
                      </a:rPr>
                      <a:t> Water</a:t>
                    </a:r>
                    <a:endParaRPr lang="en-US" dirty="0">
                      <a:effectLst/>
                    </a:endParaRPr>
                  </a:p>
                </c:rich>
              </c:tx>
              <c:spPr>
                <a:effectLst/>
                <a:scene3d>
                  <a:camera prst="orthographicFront"/>
                  <a:lightRig rig="threePt" dir="t"/>
                </a:scene3d>
              </c:spPr>
              <c:showVal val="1"/>
            </c:dLbl>
            <c:dLbl>
              <c:idx val="1"/>
              <c:layout>
                <c:manualLayout>
                  <c:x val="0.16657964905829017"/>
                  <c:y val="-0.2536743988666203"/>
                </c:manualLayout>
              </c:layout>
              <c:tx>
                <c:rich>
                  <a:bodyPr/>
                  <a:lstStyle/>
                  <a:p>
                    <a:pPr>
                      <a:defRPr b="1" cap="all" spc="0">
                        <a:ln w="9000" cmpd="sng">
                          <a:solidFill>
                            <a:schemeClr val="accent4">
                              <a:shade val="50000"/>
                              <a:satMod val="120000"/>
                            </a:schemeClr>
                          </a:solidFill>
                          <a:prstDash val="solid"/>
                        </a:ln>
                        <a:gradFill>
                          <a:gsLst>
                            <a:gs pos="0">
                              <a:schemeClr val="accent4">
                                <a:shade val="20000"/>
                                <a:satMod val="245000"/>
                              </a:schemeClr>
                            </a:gs>
                            <a:gs pos="43000">
                              <a:schemeClr val="accent4">
                                <a:satMod val="255000"/>
                              </a:schemeClr>
                            </a:gs>
                            <a:gs pos="48000">
                              <a:schemeClr val="accent4">
                                <a:shade val="85000"/>
                                <a:satMod val="255000"/>
                              </a:schemeClr>
                            </a:gs>
                            <a:gs pos="100000">
                              <a:schemeClr val="accent4">
                                <a:shade val="20000"/>
                                <a:satMod val="245000"/>
                              </a:schemeClr>
                            </a:gs>
                          </a:gsLst>
                          <a:lin ang="5400000"/>
                        </a:gradFill>
                        <a:effectLst>
                          <a:outerShdw blurRad="75057" dist="38100" dir="5400000" sy="-20000" rotWithShape="0">
                            <a:prstClr val="black">
                              <a:alpha val="25000"/>
                            </a:prstClr>
                          </a:outerShdw>
                          <a:reflection blurRad="12700" stA="28000" endPos="45000" dist="1000" dir="5400000" sy="-100000" algn="bl" rotWithShape="0"/>
                        </a:effectLst>
                      </a:defRPr>
                    </a:pPr>
                    <a:r>
                      <a:rPr lang="en-US" b="1" cap="all" spc="0" dirty="0" smtClean="0">
                        <a:ln w="9000" cmpd="sng">
                          <a:solidFill>
                            <a:schemeClr val="accent4">
                              <a:shade val="50000"/>
                              <a:satMod val="120000"/>
                            </a:schemeClr>
                          </a:solidFill>
                          <a:prstDash val="solid"/>
                        </a:ln>
                        <a:gradFill>
                          <a:gsLst>
                            <a:gs pos="0">
                              <a:schemeClr val="accent4">
                                <a:shade val="20000"/>
                                <a:satMod val="245000"/>
                              </a:schemeClr>
                            </a:gs>
                            <a:gs pos="43000">
                              <a:schemeClr val="accent4">
                                <a:satMod val="255000"/>
                              </a:schemeClr>
                            </a:gs>
                            <a:gs pos="48000">
                              <a:schemeClr val="accent4">
                                <a:shade val="85000"/>
                                <a:satMod val="255000"/>
                              </a:schemeClr>
                            </a:gs>
                            <a:gs pos="100000">
                              <a:schemeClr val="accent4">
                                <a:shade val="20000"/>
                                <a:satMod val="245000"/>
                              </a:schemeClr>
                            </a:gs>
                          </a:gsLst>
                          <a:lin ang="5400000"/>
                        </a:gradFill>
                        <a:effectLst>
                          <a:outerShdw blurRad="75057" dist="38100" dir="5400000" sy="-20000" rotWithShape="0">
                            <a:prstClr val="black">
                              <a:alpha val="25000"/>
                            </a:prstClr>
                          </a:outerShdw>
                          <a:reflection blurRad="12700" stA="28000" endPos="45000" dist="1000" dir="5400000" sy="-100000" algn="bl" rotWithShape="0"/>
                        </a:effectLst>
                      </a:rPr>
                      <a:t>86.0% NEWATER</a:t>
                    </a:r>
                    <a:endParaRPr lang="en-US" b="1" cap="all" spc="0" dirty="0">
                      <a:ln w="9000" cmpd="sng">
                        <a:solidFill>
                          <a:schemeClr val="accent4">
                            <a:shade val="50000"/>
                            <a:satMod val="120000"/>
                          </a:schemeClr>
                        </a:solidFill>
                        <a:prstDash val="solid"/>
                      </a:ln>
                      <a:gradFill>
                        <a:gsLst>
                          <a:gs pos="0">
                            <a:schemeClr val="accent4">
                              <a:shade val="20000"/>
                              <a:satMod val="245000"/>
                            </a:schemeClr>
                          </a:gs>
                          <a:gs pos="43000">
                            <a:schemeClr val="accent4">
                              <a:satMod val="255000"/>
                            </a:schemeClr>
                          </a:gs>
                          <a:gs pos="48000">
                            <a:schemeClr val="accent4">
                              <a:shade val="85000"/>
                              <a:satMod val="255000"/>
                            </a:schemeClr>
                          </a:gs>
                          <a:gs pos="100000">
                            <a:schemeClr val="accent4">
                              <a:shade val="20000"/>
                              <a:satMod val="245000"/>
                            </a:schemeClr>
                          </a:gs>
                        </a:gsLst>
                        <a:lin ang="5400000"/>
                      </a:gradFill>
                      <a:effectLst>
                        <a:outerShdw blurRad="75057" dist="38100" dir="5400000" sy="-20000" rotWithShape="0">
                          <a:prstClr val="black">
                            <a:alpha val="25000"/>
                          </a:prstClr>
                        </a:outerShdw>
                        <a:reflection blurRad="12700" stA="28000" endPos="45000" dist="1000" dir="5400000" sy="-100000" algn="bl" rotWithShape="0"/>
                      </a:effectLst>
                    </a:endParaRPr>
                  </a:p>
                </c:rich>
              </c:tx>
              <c:spPr>
                <a:scene3d>
                  <a:camera prst="orthographicFront"/>
                  <a:lightRig rig="threePt" dir="t"/>
                </a:scene3d>
                <a:sp3d>
                  <a:bevelB w="165100" prst="coolSlant"/>
                </a:sp3d>
              </c:spPr>
              <c:showVal val="1"/>
            </c:dLbl>
            <c:dLbl>
              <c:idx val="2"/>
              <c:delete val="1"/>
            </c:dLbl>
            <c:spPr>
              <a:scene3d>
                <a:camera prst="orthographicFront"/>
                <a:lightRig rig="threePt" dir="t"/>
              </a:scene3d>
              <a:sp3d>
                <a:bevelB w="165100" prst="coolSlant"/>
              </a:sp3d>
            </c:spPr>
            <c:showVal val="1"/>
          </c:dLbls>
          <c:cat>
            <c:strRef>
              <c:f>'2.Activity&amp;Water'!$D$14:$F$14</c:f>
              <c:strCache>
                <c:ptCount val="3"/>
                <c:pt idx="0">
                  <c:v>Potable water use (m3)</c:v>
                </c:pt>
                <c:pt idx="1">
                  <c:v>NEWater use (m3)</c:v>
                </c:pt>
                <c:pt idx="2">
                  <c:v>Industrial water use (m3)</c:v>
                </c:pt>
              </c:strCache>
            </c:strRef>
          </c:cat>
          <c:val>
            <c:numRef>
              <c:f>'2.Activity&amp;Water'!$D$28:$F$28</c:f>
              <c:numCache>
                <c:formatCode>0.0%</c:formatCode>
                <c:ptCount val="3"/>
                <c:pt idx="0">
                  <c:v>0.15980823192275567</c:v>
                </c:pt>
                <c:pt idx="1">
                  <c:v>0.84060150968394465</c:v>
                </c:pt>
                <c:pt idx="2">
                  <c:v>0</c:v>
                </c:pt>
              </c:numCache>
            </c:numRef>
          </c:val>
        </c:ser>
        <c:dLbls/>
      </c:pie3DChart>
    </c:plotArea>
    <c:plotVisOnly val="1"/>
    <c:dispBlanksAs val="zero"/>
  </c:chart>
  <c:txPr>
    <a:bodyPr/>
    <a:lstStyle/>
    <a:p>
      <a:pPr>
        <a:defRPr sz="1800"/>
      </a:pPr>
      <a:endParaRPr lang="en-US"/>
    </a:p>
  </c:txPr>
  <c:externalData r:id="rId3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style val="26"/>
  <c:chart>
    <c:autoTitleDeleted val="1"/>
    <c:view3D>
      <c:rAngAx val="1"/>
    </c:view3D>
    <c:plotArea>
      <c:layout>
        <c:manualLayout>
          <c:layoutTarget val="inner"/>
          <c:xMode val="edge"/>
          <c:yMode val="edge"/>
          <c:x val="0.15198954021581701"/>
          <c:y val="5.3625236518930898E-2"/>
          <c:w val="0.81868258867062438"/>
          <c:h val="0.89274952696213838"/>
        </c:manualLayout>
      </c:layout>
      <c:bar3DChart>
        <c:barDir val="col"/>
        <c:grouping val="standar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Pt>
            <c:idx val="0"/>
            <c:spPr>
              <a:solidFill>
                <a:srgbClr val="FF0000"/>
              </a:solidFill>
            </c:spPr>
          </c:dPt>
          <c:dPt>
            <c:idx val="1"/>
            <c:spPr>
              <a:solidFill>
                <a:srgbClr val="FF0000"/>
              </a:solidFill>
            </c:spPr>
          </c:dPt>
          <c:dLbls>
            <c:dLbl>
              <c:idx val="0"/>
              <c:layout>
                <c:manualLayout>
                  <c:x val="1.8663190708628128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48.8%</a:t>
                    </a:r>
                    <a:endParaRPr lang="en-US"/>
                  </a:p>
                </c:rich>
              </c:tx>
              <c:showVal val="1"/>
            </c:dLbl>
            <c:dLbl>
              <c:idx val="1"/>
              <c:layout>
                <c:manualLayout>
                  <c:x val="2.9327871113558484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4.4%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2.3995530911093306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3%</a:t>
                    </a:r>
                    <a:endParaRPr lang="en-US"/>
                  </a:p>
                </c:rich>
              </c:tx>
              <c:showVal val="1"/>
            </c:dLbl>
            <c:dLbl>
              <c:idx val="3"/>
              <c:layout>
                <c:manualLayout>
                  <c:x val="2.6661701012325997E-2"/>
                  <c:y val="-5.0074164964013634E-3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2%</a:t>
                    </a:r>
                    <a:endParaRPr lang="en-US"/>
                  </a:p>
                </c:rich>
              </c:tx>
              <c:showVal val="1"/>
            </c:dLbl>
            <c:dLbl>
              <c:idx val="4"/>
              <c:layout>
                <c:manualLayout>
                  <c:x val="2.1329360809860719E-2"/>
                  <c:y val="-5.0074164964013634E-3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1.8%</a:t>
                    </a:r>
                    <a:endParaRPr lang="en-US"/>
                  </a:p>
                </c:rich>
              </c:tx>
              <c:showVal val="1"/>
            </c:dLbl>
            <c:showVal val="1"/>
          </c:dLbls>
          <c:cat>
            <c:strRef>
              <c:f>Sheet1!$A$2:$A$6</c:f>
              <c:strCache>
                <c:ptCount val="5"/>
                <c:pt idx="0">
                  <c:v>Washrooms</c:v>
                </c:pt>
                <c:pt idx="1">
                  <c:v>Canteen</c:v>
                </c:pt>
                <c:pt idx="2">
                  <c:v>Gardening</c:v>
                </c:pt>
                <c:pt idx="3">
                  <c:v>Sprinkler</c:v>
                </c:pt>
                <c:pt idx="4">
                  <c:v>Chilled Water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48.8</c:v>
                </c:pt>
                <c:pt idx="1">
                  <c:v>44.4</c:v>
                </c:pt>
                <c:pt idx="2">
                  <c:v>3</c:v>
                </c:pt>
                <c:pt idx="3">
                  <c:v>2</c:v>
                </c:pt>
                <c:pt idx="4">
                  <c:v>1.8</c:v>
                </c:pt>
              </c:numCache>
            </c:numRef>
          </c:val>
        </c:ser>
        <c:dLbls>
          <c:showVal val="1"/>
        </c:dLbls>
        <c:gapWidth val="75"/>
        <c:shape val="box"/>
        <c:axId val="108312064"/>
        <c:axId val="108313600"/>
        <c:axId val="107975552"/>
      </c:bar3DChart>
      <c:catAx>
        <c:axId val="108312064"/>
        <c:scaling>
          <c:orientation val="minMax"/>
        </c:scaling>
        <c:delete val="1"/>
        <c:axPos val="b"/>
        <c:majorTickMark val="none"/>
        <c:tickLblPos val="none"/>
        <c:crossAx val="108313600"/>
        <c:crosses val="autoZero"/>
        <c:auto val="1"/>
        <c:lblAlgn val="ctr"/>
        <c:lblOffset val="100"/>
      </c:catAx>
      <c:valAx>
        <c:axId val="108313600"/>
        <c:scaling>
          <c:orientation val="minMax"/>
        </c:scaling>
        <c:axPos val="l"/>
        <c:numFmt formatCode="General" sourceLinked="1"/>
        <c:majorTickMark val="none"/>
        <c:tickLblPos val="nextTo"/>
        <c:crossAx val="108312064"/>
        <c:crosses val="autoZero"/>
        <c:crossBetween val="between"/>
      </c:valAx>
      <c:serAx>
        <c:axId val="107975552"/>
        <c:scaling>
          <c:orientation val="minMax"/>
        </c:scaling>
        <c:delete val="1"/>
        <c:axPos val="b"/>
        <c:majorTickMark val="none"/>
        <c:tickLblPos val="none"/>
        <c:crossAx val="108313600"/>
        <c:crosses val="autoZero"/>
      </c:serAx>
    </c:plotArea>
    <c:plotVisOnly val="1"/>
    <c:dispBlanksAs val="gap"/>
  </c:chart>
  <c:txPr>
    <a:bodyPr/>
    <a:lstStyle/>
    <a:p>
      <a:pPr>
        <a:defRPr sz="1800"/>
      </a:pPr>
      <a:endParaRPr lang="en-US"/>
    </a:p>
  </c:txPr>
  <c:externalData r:id="rId1"/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style val="26"/>
  <c:chart>
    <c:autoTitleDeleted val="1"/>
    <c:view3D>
      <c:rAngAx val="1"/>
    </c:view3D>
    <c:plotArea>
      <c:layout>
        <c:manualLayout>
          <c:layoutTarget val="inner"/>
          <c:xMode val="edge"/>
          <c:yMode val="edge"/>
          <c:x val="0.12349409924746843"/>
          <c:y val="0.14495870100431921"/>
          <c:w val="0.86223911335872816"/>
          <c:h val="0.81529726343471365"/>
        </c:manualLayout>
      </c:layout>
      <c:bar3DChart>
        <c:barDir val="col"/>
        <c:grouping val="standar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dPt>
            <c:idx val="0"/>
            <c:spPr>
              <a:solidFill>
                <a:srgbClr val="FF0000"/>
              </a:solidFill>
            </c:spPr>
          </c:dPt>
          <c:dLbls>
            <c:dLbl>
              <c:idx val="0"/>
              <c:layout>
                <c:manualLayout>
                  <c:x val="1.7028736423701014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81.4%</a:t>
                    </a:r>
                    <a:endParaRPr lang="en-US"/>
                  </a:p>
                </c:rich>
              </c:tx>
              <c:showVal val="1"/>
            </c:dLbl>
            <c:dLbl>
              <c:idx val="1"/>
              <c:layout>
                <c:manualLayout>
                  <c:x val="2.1894089687615595E-2"/>
                  <c:y val="-6.9297144325605446E-17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15.6%</a:t>
                    </a:r>
                    <a:endParaRPr lang="en-US"/>
                  </a:p>
                </c:rich>
              </c:tx>
              <c:showVal val="1"/>
            </c:dLbl>
            <c:dLbl>
              <c:idx val="2"/>
              <c:layout>
                <c:manualLayout>
                  <c:x val="1.9461413055658305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2.6%</a:t>
                    </a:r>
                    <a:endParaRPr lang="en-US"/>
                  </a:p>
                </c:rich>
              </c:tx>
              <c:showVal val="1"/>
            </c:dLbl>
            <c:dLbl>
              <c:idx val="3"/>
              <c:layout>
                <c:manualLayout>
                  <c:x val="2.4326766319572871E-2"/>
                  <c:y val="-1.1339663703075816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0.2%</a:t>
                    </a:r>
                    <a:endParaRPr lang="en-US"/>
                  </a:p>
                </c:rich>
              </c:tx>
              <c:showVal val="1"/>
            </c:dLbl>
            <c:dLbl>
              <c:idx val="4"/>
              <c:layout>
                <c:manualLayout>
                  <c:x val="3.1624796215444735E-2"/>
                  <c:y val="-1.5119551604101091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0.1%</a:t>
                    </a:r>
                    <a:endParaRPr lang="en-US"/>
                  </a:p>
                </c:rich>
              </c:tx>
              <c:showVal val="1"/>
            </c:dLbl>
            <c:showVal val="1"/>
          </c:dLbls>
          <c:cat>
            <c:strRef>
              <c:f>Sheet1!$A$2:$A$6</c:f>
              <c:strCache>
                <c:ptCount val="5"/>
                <c:pt idx="0">
                  <c:v>DI Water</c:v>
                </c:pt>
                <c:pt idx="1">
                  <c:v>Production Tools </c:v>
                </c:pt>
                <c:pt idx="2">
                  <c:v>Cooling Tower</c:v>
                </c:pt>
                <c:pt idx="3">
                  <c:v>Scrubber</c:v>
                </c:pt>
                <c:pt idx="4">
                  <c:v>Process Cooling Water</c:v>
                </c:pt>
              </c:strCache>
            </c:strRef>
          </c:cat>
          <c:val>
            <c:numRef>
              <c:f>Sheet1!$B$2:$B$6</c:f>
              <c:numCache>
                <c:formatCode>General</c:formatCode>
                <c:ptCount val="5"/>
                <c:pt idx="0">
                  <c:v>81.400000000000006</c:v>
                </c:pt>
                <c:pt idx="1">
                  <c:v>15.6</c:v>
                </c:pt>
                <c:pt idx="2">
                  <c:v>2.6</c:v>
                </c:pt>
                <c:pt idx="3">
                  <c:v>0.2</c:v>
                </c:pt>
                <c:pt idx="4">
                  <c:v>0.1</c:v>
                </c:pt>
              </c:numCache>
            </c:numRef>
          </c:val>
        </c:ser>
        <c:dLbls>
          <c:showVal val="1"/>
        </c:dLbls>
        <c:gapWidth val="75"/>
        <c:shape val="box"/>
        <c:axId val="108541824"/>
        <c:axId val="108627840"/>
        <c:axId val="107988736"/>
      </c:bar3DChart>
      <c:catAx>
        <c:axId val="108541824"/>
        <c:scaling>
          <c:orientation val="minMax"/>
        </c:scaling>
        <c:delete val="1"/>
        <c:axPos val="b"/>
        <c:majorTickMark val="none"/>
        <c:tickLblPos val="none"/>
        <c:crossAx val="108627840"/>
        <c:crosses val="autoZero"/>
        <c:auto val="1"/>
        <c:lblAlgn val="ctr"/>
        <c:lblOffset val="100"/>
      </c:catAx>
      <c:valAx>
        <c:axId val="108627840"/>
        <c:scaling>
          <c:orientation val="minMax"/>
        </c:scaling>
        <c:axPos val="l"/>
        <c:numFmt formatCode="General" sourceLinked="1"/>
        <c:majorTickMark val="none"/>
        <c:tickLblPos val="nextTo"/>
        <c:crossAx val="108541824"/>
        <c:crosses val="autoZero"/>
        <c:crossBetween val="between"/>
      </c:valAx>
      <c:serAx>
        <c:axId val="107988736"/>
        <c:scaling>
          <c:orientation val="minMax"/>
        </c:scaling>
        <c:delete val="1"/>
        <c:axPos val="b"/>
        <c:tickLblPos val="none"/>
        <c:crossAx val="108627840"/>
        <c:crosses val="autoZero"/>
      </c:serAx>
    </c:plotArea>
    <c:plotVisOnly val="1"/>
    <c:dispBlanksAs val="gap"/>
  </c:chart>
  <c:txPr>
    <a:bodyPr/>
    <a:lstStyle/>
    <a:p>
      <a:pPr>
        <a:defRPr sz="1800"/>
      </a:pPr>
      <a:endParaRPr lang="en-US"/>
    </a:p>
  </c:txPr>
  <c:externalData r:id="rId1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chart>
    <c:autoTitleDeleted val="1"/>
    <c:view3D>
      <c:rAngAx val="1"/>
    </c:view3D>
    <c:sideWall>
      <c:spPr>
        <a:noFill/>
      </c:spPr>
    </c:sideWall>
    <c:backWall>
      <c:spPr>
        <a:noFill/>
      </c:spPr>
    </c:backWall>
    <c:plotArea>
      <c:layout>
        <c:manualLayout>
          <c:layoutTarget val="inner"/>
          <c:xMode val="edge"/>
          <c:yMode val="edge"/>
          <c:x val="1.0416666666666666E-2"/>
          <c:y val="0.16979699803149637"/>
          <c:w val="0.92916666666666659"/>
          <c:h val="0.82551550196850398"/>
        </c:manualLayout>
      </c:layout>
      <c:bar3DChart>
        <c:barDir val="col"/>
        <c:grouping val="stacked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gradFill>
              <a:gsLst>
                <a:gs pos="0">
                  <a:srgbClr val="03D4A8"/>
                </a:gs>
                <a:gs pos="25000">
                  <a:srgbClr val="21D6E0"/>
                </a:gs>
                <a:gs pos="75000">
                  <a:srgbClr val="0087E6"/>
                </a:gs>
                <a:gs pos="100000">
                  <a:srgbClr val="005CBF"/>
                </a:gs>
              </a:gsLst>
              <a:lin ang="5400000" scaled="0"/>
            </a:gradFill>
          </c:spPr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72</c:v>
                </c:pt>
                <c:pt idx="1">
                  <c:v>86</c:v>
                </c:pt>
              </c:numCache>
            </c:numRef>
          </c:val>
        </c:ser>
        <c:dLbls/>
        <c:gapWidth val="240"/>
        <c:gapDepth val="0"/>
        <c:shape val="cylinder"/>
        <c:axId val="160597120"/>
        <c:axId val="160598656"/>
        <c:axId val="0"/>
      </c:bar3DChart>
      <c:catAx>
        <c:axId val="160597120"/>
        <c:scaling>
          <c:orientation val="minMax"/>
        </c:scaling>
        <c:delete val="1"/>
        <c:axPos val="b"/>
        <c:tickLblPos val="none"/>
        <c:crossAx val="160598656"/>
        <c:crosses val="autoZero"/>
        <c:auto val="1"/>
        <c:lblAlgn val="ctr"/>
        <c:lblOffset val="100"/>
      </c:catAx>
      <c:valAx>
        <c:axId val="160598656"/>
        <c:scaling>
          <c:orientation val="minMax"/>
          <c:min val="35"/>
        </c:scaling>
        <c:axPos val="l"/>
        <c:majorGridlines/>
        <c:numFmt formatCode="General" sourceLinked="1"/>
        <c:tickLblPos val="nextTo"/>
        <c:crossAx val="160597120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en-US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US"/>
  <c:style val="48"/>
  <c:chart>
    <c:autoTitleDeleted val="1"/>
    <c:view3D>
      <c:perspective val="30"/>
    </c:view3D>
    <c:plotArea>
      <c:layout>
        <c:manualLayout>
          <c:layoutTarget val="inner"/>
          <c:xMode val="edge"/>
          <c:yMode val="edge"/>
          <c:x val="4.7925962379702529E-2"/>
          <c:y val="0.24638538718806283"/>
          <c:w val="0.66270406824147299"/>
          <c:h val="0.75361467942005111"/>
        </c:manualLayout>
      </c:layout>
      <c:bar3DChart>
        <c:barDir val="col"/>
        <c:grouping val="standard"/>
        <c:ser>
          <c:idx val="0"/>
          <c:order val="0"/>
          <c:tx>
            <c:strRef>
              <c:f>Sheet1!$B$1</c:f>
              <c:strCache>
                <c:ptCount val="1"/>
                <c:pt idx="0">
                  <c:v>Water Efficiency Index</c:v>
                </c:pt>
              </c:strCache>
            </c:strRef>
          </c:tx>
          <c:spPr>
            <a:blipFill>
              <a:blip xmlns:r="http://schemas.openxmlformats.org/officeDocument/2006/relationships" r:embed="rId1"/>
              <a:stretch>
                <a:fillRect/>
              </a:stretch>
            </a:blipFill>
          </c:spPr>
          <c:dLbls>
            <c:dLbl>
              <c:idx val="0"/>
              <c:showVal val="1"/>
            </c:dLbl>
            <c:dLbl>
              <c:idx val="1"/>
              <c:showVal val="1"/>
            </c:dLbl>
            <c:dLbl>
              <c:idx val="2"/>
              <c:showVal val="1"/>
            </c:dLbl>
            <c:dLbl>
              <c:idx val="3"/>
              <c:showVal val="1"/>
            </c:dLbl>
            <c:dLbl>
              <c:idx val="4"/>
              <c:showVal val="1"/>
            </c:dLbl>
            <c:delete val="1"/>
          </c:dLbls>
          <c:cat>
            <c:numRef>
              <c:f>Sheet1!$A$2:$A$4</c:f>
              <c:numCache>
                <c:formatCode>General</c:formatCode>
                <c:ptCount val="3"/>
                <c:pt idx="0">
                  <c:v>2011</c:v>
                </c:pt>
                <c:pt idx="1">
                  <c:v>2012</c:v>
                </c:pt>
                <c:pt idx="2">
                  <c:v>2013</c:v>
                </c:pt>
              </c:numCache>
            </c:numRef>
          </c:cat>
          <c:val>
            <c:numRef>
              <c:f>Sheet1!$B$2:$B$4</c:f>
              <c:numCache>
                <c:formatCode>General</c:formatCode>
                <c:ptCount val="3"/>
                <c:pt idx="0">
                  <c:v>0.76000000000000012</c:v>
                </c:pt>
                <c:pt idx="1">
                  <c:v>0.66000000000000014</c:v>
                </c:pt>
                <c:pt idx="2" formatCode="0.00">
                  <c:v>0.47000000000000003</c:v>
                </c:pt>
              </c:numCache>
            </c:numRef>
          </c:val>
        </c:ser>
        <c:dLbls/>
        <c:gapWidth val="300"/>
        <c:shape val="box"/>
        <c:axId val="176042368"/>
        <c:axId val="176222976"/>
        <c:axId val="177836480"/>
      </c:bar3DChart>
      <c:catAx>
        <c:axId val="176042368"/>
        <c:scaling>
          <c:orientation val="minMax"/>
        </c:scaling>
        <c:delete val="1"/>
        <c:axPos val="b"/>
        <c:numFmt formatCode="General" sourceLinked="1"/>
        <c:majorTickMark val="none"/>
        <c:tickLblPos val="none"/>
        <c:crossAx val="176222976"/>
        <c:crosses val="autoZero"/>
        <c:auto val="1"/>
        <c:lblAlgn val="ctr"/>
        <c:lblOffset val="100"/>
      </c:catAx>
      <c:valAx>
        <c:axId val="176222976"/>
        <c:scaling>
          <c:orientation val="minMax"/>
        </c:scaling>
        <c:axPos val="l"/>
        <c:majorGridlines/>
        <c:minorGridlines>
          <c:spPr>
            <a:ln>
              <a:solidFill>
                <a:schemeClr val="accent4">
                  <a:lumMod val="75000"/>
                </a:schemeClr>
              </a:solidFill>
            </a:ln>
            <a:effectLst>
              <a:outerShdw blurRad="76200" dir="13500000" sy="23000" kx="1200000" algn="br" rotWithShape="0">
                <a:prstClr val="black">
                  <a:alpha val="20000"/>
                </a:prstClr>
              </a:outerShdw>
            </a:effectLst>
          </c:spPr>
        </c:minorGridlines>
        <c:title>
          <c:tx>
            <c:rich>
              <a:bodyPr/>
              <a:lstStyle/>
              <a:p>
                <a:pPr>
                  <a:defRPr sz="1200"/>
                </a:pPr>
                <a:r>
                  <a:rPr lang="en-US" sz="1200" dirty="0" smtClean="0"/>
                  <a:t>Water use per year / Business Activity Indicator</a:t>
                </a:r>
                <a:endParaRPr lang="en-US" sz="1200" dirty="0"/>
              </a:p>
            </c:rich>
          </c:tx>
          <c:layout>
            <c:manualLayout>
              <c:xMode val="edge"/>
              <c:yMode val="edge"/>
              <c:x val="1.3888888888888892E-2"/>
              <c:y val="0.12355052973782071"/>
            </c:manualLayout>
          </c:layout>
        </c:title>
        <c:numFmt formatCode="General" sourceLinked="1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176042368"/>
        <c:crosses val="autoZero"/>
        <c:crossBetween val="between"/>
      </c:valAx>
      <c:serAx>
        <c:axId val="177836480"/>
        <c:scaling>
          <c:orientation val="minMax"/>
        </c:scaling>
        <c:delete val="1"/>
        <c:axPos val="b"/>
        <c:tickLblPos val="none"/>
        <c:crossAx val="176222976"/>
        <c:crosses val="autoZero"/>
      </c:serAx>
    </c:plotArea>
    <c:legend>
      <c:legendPos val="r"/>
      <c:layout>
        <c:manualLayout>
          <c:xMode val="edge"/>
          <c:yMode val="edge"/>
          <c:x val="0.38701891951006323"/>
          <c:y val="0.86141812806568041"/>
          <c:w val="0.22131441382327224"/>
          <c:h val="6.9167098260720414E-2"/>
        </c:manualLayout>
      </c:layout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gap"/>
  </c:chart>
  <c:spPr>
    <a:gradFill>
      <a:gsLst>
        <a:gs pos="0">
          <a:srgbClr val="000000"/>
        </a:gs>
        <a:gs pos="39999">
          <a:srgbClr val="0A128C"/>
        </a:gs>
        <a:gs pos="70000">
          <a:srgbClr val="181CC7"/>
        </a:gs>
        <a:gs pos="88000">
          <a:srgbClr val="7005D4"/>
        </a:gs>
        <a:gs pos="100000">
          <a:srgbClr val="8C3D91"/>
        </a:gs>
      </a:gsLst>
      <a:lin ang="5400000" scaled="0"/>
    </a:gradFill>
    <a:scene3d>
      <a:camera prst="orthographicFront"/>
      <a:lightRig rig="threePt" dir="t"/>
    </a:scene3d>
    <a:sp3d>
      <a:bevelT/>
      <a:bevelB prst="angle"/>
    </a:sp3d>
  </c:spPr>
  <c:txPr>
    <a:bodyPr/>
    <a:lstStyle/>
    <a:p>
      <a:pPr>
        <a:defRPr sz="1800"/>
      </a:pPr>
      <a:endParaRPr lang="en-US"/>
    </a:p>
  </c:txPr>
  <c:externalData r:id="rId2"/>
  <c:userShapes r:id="rId3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7C195D9-83A6-4F2B-A98D-D0513F2ACBEB}" type="doc">
      <dgm:prSet loTypeId="urn:microsoft.com/office/officeart/2005/8/layout/hList3" loCatId="list" qsTypeId="urn:microsoft.com/office/officeart/2005/8/quickstyle/3d2" qsCatId="3D" csTypeId="urn:microsoft.com/office/officeart/2005/8/colors/colorful4" csCatId="colorful" phldr="1"/>
      <dgm:spPr/>
      <dgm:t>
        <a:bodyPr/>
        <a:lstStyle/>
        <a:p>
          <a:endParaRPr lang="en-US"/>
        </a:p>
      </dgm:t>
    </dgm:pt>
    <dgm:pt modelId="{7B9E6F40-535A-412D-A866-167E96AD25D3}">
      <dgm:prSet phldrT="[Text]" custT="1"/>
      <dgm:spPr/>
      <dgm:t>
        <a:bodyPr/>
        <a:lstStyle/>
        <a:p>
          <a:r>
            <a:rPr lang="en-US" sz="2000" b="1" dirty="0" smtClean="0"/>
            <a:t>Installation of Smart Water Meters</a:t>
          </a:r>
          <a:endParaRPr lang="en-US" sz="2000" b="1" dirty="0"/>
        </a:p>
      </dgm:t>
    </dgm:pt>
    <dgm:pt modelId="{74928589-C53C-4681-BAB9-44315C3D2CFC}" type="parTrans" cxnId="{750E9D98-761D-435F-97C4-E84BD7FE3BAA}">
      <dgm:prSet/>
      <dgm:spPr/>
      <dgm:t>
        <a:bodyPr/>
        <a:lstStyle/>
        <a:p>
          <a:endParaRPr lang="en-US"/>
        </a:p>
      </dgm:t>
    </dgm:pt>
    <dgm:pt modelId="{73D2280C-1170-43EF-B402-DF3F163CF727}" type="sibTrans" cxnId="{750E9D98-761D-435F-97C4-E84BD7FE3BAA}">
      <dgm:prSet/>
      <dgm:spPr/>
      <dgm:t>
        <a:bodyPr/>
        <a:lstStyle/>
        <a:p>
          <a:endParaRPr lang="en-US"/>
        </a:p>
      </dgm:t>
    </dgm:pt>
    <dgm:pt modelId="{AA6C801A-DA7F-42CD-B466-68B29E9502EB}">
      <dgm:prSet phldrT="[Text]" custT="1"/>
      <dgm:spPr/>
      <dgm:t>
        <a:bodyPr/>
        <a:lstStyle/>
        <a:p>
          <a:pPr algn="l"/>
          <a:r>
            <a:rPr lang="en-US" sz="1400" dirty="0" smtClean="0"/>
            <a:t>Worked with PUB to install 8 nos. of Smart Water Meters at:</a:t>
          </a:r>
        </a:p>
        <a:p>
          <a:pPr algn="l"/>
          <a:r>
            <a:rPr lang="en-US" sz="1200" dirty="0" smtClean="0"/>
            <a:t>    </a:t>
          </a:r>
          <a:r>
            <a:rPr lang="en-US" sz="1200" b="1" dirty="0" smtClean="0"/>
            <a:t>1. Cafeteria</a:t>
          </a:r>
        </a:p>
        <a:p>
          <a:pPr algn="l"/>
          <a:r>
            <a:rPr lang="en-US" sz="1200" b="1" dirty="0" smtClean="0"/>
            <a:t>    2. Cooling Towers</a:t>
          </a:r>
        </a:p>
        <a:p>
          <a:pPr algn="l"/>
          <a:r>
            <a:rPr lang="en-US" sz="1200" b="1" dirty="0" smtClean="0"/>
            <a:t>    3. Production tools</a:t>
          </a:r>
        </a:p>
        <a:p>
          <a:pPr algn="l"/>
          <a:r>
            <a:rPr lang="en-US" sz="1200" b="1" dirty="0" smtClean="0"/>
            <a:t>    4. DI system Loop 1</a:t>
          </a:r>
        </a:p>
        <a:p>
          <a:pPr algn="l"/>
          <a:r>
            <a:rPr lang="en-US" sz="1200" b="1" dirty="0" smtClean="0"/>
            <a:t>    5. DI system Loop D</a:t>
          </a:r>
        </a:p>
        <a:p>
          <a:pPr algn="l"/>
          <a:r>
            <a:rPr lang="en-US" sz="1200" b="1" dirty="0" smtClean="0"/>
            <a:t>    6. Production building toilets</a:t>
          </a:r>
        </a:p>
        <a:p>
          <a:pPr algn="l"/>
          <a:r>
            <a:rPr lang="en-US" sz="1200" b="1" dirty="0" smtClean="0"/>
            <a:t>    7. Annex building toilets</a:t>
          </a:r>
        </a:p>
        <a:p>
          <a:pPr algn="l"/>
          <a:r>
            <a:rPr lang="en-US" sz="1200" b="1" dirty="0" smtClean="0"/>
            <a:t>    8. Waste Water Reclaim System</a:t>
          </a:r>
          <a:endParaRPr lang="en-US" sz="1200" b="1" dirty="0"/>
        </a:p>
      </dgm:t>
    </dgm:pt>
    <dgm:pt modelId="{82E1122E-6C4D-403C-A366-1BBF0DB06D29}" type="parTrans" cxnId="{200FA9F6-CACB-4B1A-882F-1857505F94D7}">
      <dgm:prSet/>
      <dgm:spPr/>
      <dgm:t>
        <a:bodyPr/>
        <a:lstStyle/>
        <a:p>
          <a:endParaRPr lang="en-US"/>
        </a:p>
      </dgm:t>
    </dgm:pt>
    <dgm:pt modelId="{771D179D-B195-4E26-9C6D-CA0C0AD340E3}" type="sibTrans" cxnId="{200FA9F6-CACB-4B1A-882F-1857505F94D7}">
      <dgm:prSet/>
      <dgm:spPr/>
      <dgm:t>
        <a:bodyPr/>
        <a:lstStyle/>
        <a:p>
          <a:endParaRPr lang="en-US"/>
        </a:p>
      </dgm:t>
    </dgm:pt>
    <dgm:pt modelId="{3F0AD9BD-4877-4AEA-AAEC-8E3621D6115C}">
      <dgm:prSet phldrT="[Text]" custT="1"/>
      <dgm:spPr/>
      <dgm:t>
        <a:bodyPr/>
        <a:lstStyle/>
        <a:p>
          <a:pPr algn="l"/>
          <a:r>
            <a:rPr lang="en-US" sz="1400" dirty="0" smtClean="0"/>
            <a:t>  </a:t>
          </a:r>
          <a:r>
            <a:rPr lang="en-US" sz="1400" b="1" dirty="0" smtClean="0"/>
            <a:t>1. The meters take readings at              </a:t>
          </a:r>
        </a:p>
        <a:p>
          <a:pPr algn="l"/>
          <a:r>
            <a:rPr lang="en-US" sz="1400" b="1" dirty="0" smtClean="0"/>
            <a:t>      intervals of 15 minutes   </a:t>
          </a:r>
        </a:p>
        <a:p>
          <a:pPr algn="l"/>
          <a:r>
            <a:rPr lang="en-US" sz="1400" b="1" dirty="0" smtClean="0"/>
            <a:t>      automatically.</a:t>
          </a:r>
        </a:p>
        <a:p>
          <a:pPr algn="l"/>
          <a:r>
            <a:rPr lang="en-US" sz="1400" b="1" dirty="0" smtClean="0"/>
            <a:t>  2. The data are transferred to </a:t>
          </a:r>
        </a:p>
        <a:p>
          <a:pPr algn="l"/>
          <a:r>
            <a:rPr lang="en-US" sz="1400" b="1" dirty="0" smtClean="0"/>
            <a:t>      Building Management System</a:t>
          </a:r>
          <a:r>
            <a:rPr lang="en-US" sz="1400" dirty="0" smtClean="0"/>
            <a:t>.</a:t>
          </a:r>
          <a:endParaRPr lang="en-US" sz="1400" dirty="0"/>
        </a:p>
      </dgm:t>
    </dgm:pt>
    <dgm:pt modelId="{BF9BAE6D-DDA7-4024-BF8C-9B97798DCD6B}" type="parTrans" cxnId="{D9DE33DF-F818-4AEE-974D-B6F6E0D14E73}">
      <dgm:prSet/>
      <dgm:spPr/>
      <dgm:t>
        <a:bodyPr/>
        <a:lstStyle/>
        <a:p>
          <a:endParaRPr lang="en-US"/>
        </a:p>
      </dgm:t>
    </dgm:pt>
    <dgm:pt modelId="{F34F078D-94D6-4D7B-9BCC-67A7E8997EB8}" type="sibTrans" cxnId="{D9DE33DF-F818-4AEE-974D-B6F6E0D14E73}">
      <dgm:prSet/>
      <dgm:spPr/>
      <dgm:t>
        <a:bodyPr/>
        <a:lstStyle/>
        <a:p>
          <a:endParaRPr lang="en-US"/>
        </a:p>
      </dgm:t>
    </dgm:pt>
    <dgm:pt modelId="{44251C6F-5987-46FE-BB8C-A350EADFA13D}">
      <dgm:prSet phldrT="[Text]" custT="1"/>
      <dgm:spPr/>
      <dgm:t>
        <a:bodyPr/>
        <a:lstStyle/>
        <a:p>
          <a:pPr algn="l"/>
          <a:r>
            <a:rPr lang="en-US" sz="1400" b="1" dirty="0" smtClean="0"/>
            <a:t>  1. The data enable us to </a:t>
          </a:r>
        </a:p>
        <a:p>
          <a:pPr algn="l"/>
          <a:r>
            <a:rPr lang="en-US" sz="1400" b="1" dirty="0" smtClean="0"/>
            <a:t>      understand current </a:t>
          </a:r>
        </a:p>
        <a:p>
          <a:pPr algn="l"/>
          <a:r>
            <a:rPr lang="en-US" sz="1400" b="1" dirty="0" smtClean="0"/>
            <a:t>      consumption trends.</a:t>
          </a:r>
        </a:p>
        <a:p>
          <a:pPr algn="l"/>
          <a:r>
            <a:rPr lang="en-US" sz="1400" b="1" dirty="0" smtClean="0"/>
            <a:t>  2. To formulate future plans. </a:t>
          </a:r>
          <a:endParaRPr lang="en-US" sz="1400" b="1" dirty="0"/>
        </a:p>
      </dgm:t>
    </dgm:pt>
    <dgm:pt modelId="{F49C24E4-054E-4C3D-A673-6A72CE3CF510}" type="parTrans" cxnId="{E428F7DA-2578-4074-9B76-3A6185B21D89}">
      <dgm:prSet/>
      <dgm:spPr/>
      <dgm:t>
        <a:bodyPr/>
        <a:lstStyle/>
        <a:p>
          <a:endParaRPr lang="en-US"/>
        </a:p>
      </dgm:t>
    </dgm:pt>
    <dgm:pt modelId="{3180100B-EA9E-49B7-B157-B995E25D9799}" type="sibTrans" cxnId="{E428F7DA-2578-4074-9B76-3A6185B21D89}">
      <dgm:prSet/>
      <dgm:spPr/>
      <dgm:t>
        <a:bodyPr/>
        <a:lstStyle/>
        <a:p>
          <a:endParaRPr lang="en-US"/>
        </a:p>
      </dgm:t>
    </dgm:pt>
    <dgm:pt modelId="{7565E296-AF8D-40A9-B8E8-3FBC0F456F91}" type="pres">
      <dgm:prSet presAssocID="{C7C195D9-83A6-4F2B-A98D-D0513F2ACBEB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3F6F9616-1CA4-4941-BD09-6AF92712E190}" type="pres">
      <dgm:prSet presAssocID="{7B9E6F40-535A-412D-A866-167E96AD25D3}" presName="roof" presStyleLbl="dkBgShp" presStyleIdx="0" presStyleCnt="2" custScaleY="33538" custLinFactNeighborY="-9704"/>
      <dgm:spPr/>
      <dgm:t>
        <a:bodyPr/>
        <a:lstStyle/>
        <a:p>
          <a:endParaRPr lang="en-US"/>
        </a:p>
      </dgm:t>
    </dgm:pt>
    <dgm:pt modelId="{C1BAB453-0F27-471E-BBFE-B851C6BE1129}" type="pres">
      <dgm:prSet presAssocID="{7B9E6F40-535A-412D-A866-167E96AD25D3}" presName="pillars" presStyleCnt="0"/>
      <dgm:spPr/>
    </dgm:pt>
    <dgm:pt modelId="{314A5A2A-DBD6-4F38-9301-7DDCBE3BAD92}" type="pres">
      <dgm:prSet presAssocID="{7B9E6F40-535A-412D-A866-167E96AD25D3}" presName="pillar1" presStyleLbl="node1" presStyleIdx="0" presStyleCnt="3" custScaleY="100744" custLinFactNeighborX="-17" custLinFactNeighborY="-580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D1CF09E-50D1-4F0F-A283-ABF8BA67217A}" type="pres">
      <dgm:prSet presAssocID="{3F0AD9BD-4877-4AEA-AAEC-8E3621D6115C}" presName="pillarX" presStyleLbl="node1" presStyleIdx="1" presStyleCnt="3" custScaleY="99255" custLinFactNeighborX="65" custLinFactNeighborY="-699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F039587-6A47-4DD4-846C-FCC5F98B09E3}" type="pres">
      <dgm:prSet presAssocID="{44251C6F-5987-46FE-BB8C-A350EADFA13D}" presName="pillarX" presStyleLbl="node1" presStyleIdx="2" presStyleCnt="3" custScaleY="101016" custLinFactNeighborX="147" custLinFactNeighborY="-823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09D95EA-F73B-467C-9E6E-EEBA6B010E4A}" type="pres">
      <dgm:prSet presAssocID="{7B9E6F40-535A-412D-A866-167E96AD25D3}" presName="base" presStyleLbl="dkBgShp" presStyleIdx="1" presStyleCnt="2" custLinFactNeighborX="43" custLinFactNeighborY="-63623"/>
      <dgm:spPr/>
    </dgm:pt>
  </dgm:ptLst>
  <dgm:cxnLst>
    <dgm:cxn modelId="{E428F7DA-2578-4074-9B76-3A6185B21D89}" srcId="{7B9E6F40-535A-412D-A866-167E96AD25D3}" destId="{44251C6F-5987-46FE-BB8C-A350EADFA13D}" srcOrd="2" destOrd="0" parTransId="{F49C24E4-054E-4C3D-A673-6A72CE3CF510}" sibTransId="{3180100B-EA9E-49B7-B157-B995E25D9799}"/>
    <dgm:cxn modelId="{E3B42564-B10C-40CA-B97B-E9639873EE8B}" type="presOf" srcId="{AA6C801A-DA7F-42CD-B466-68B29E9502EB}" destId="{314A5A2A-DBD6-4F38-9301-7DDCBE3BAD92}" srcOrd="0" destOrd="0" presId="urn:microsoft.com/office/officeart/2005/8/layout/hList3"/>
    <dgm:cxn modelId="{425AB7C4-B6B0-4FD7-B707-B801C7222504}" type="presOf" srcId="{C7C195D9-83A6-4F2B-A98D-D0513F2ACBEB}" destId="{7565E296-AF8D-40A9-B8E8-3FBC0F456F91}" srcOrd="0" destOrd="0" presId="urn:microsoft.com/office/officeart/2005/8/layout/hList3"/>
    <dgm:cxn modelId="{200FA9F6-CACB-4B1A-882F-1857505F94D7}" srcId="{7B9E6F40-535A-412D-A866-167E96AD25D3}" destId="{AA6C801A-DA7F-42CD-B466-68B29E9502EB}" srcOrd="0" destOrd="0" parTransId="{82E1122E-6C4D-403C-A366-1BBF0DB06D29}" sibTransId="{771D179D-B195-4E26-9C6D-CA0C0AD340E3}"/>
    <dgm:cxn modelId="{CEF7ED1D-40AF-4659-B8BE-7310B0ADFB44}" type="presOf" srcId="{44251C6F-5987-46FE-BB8C-A350EADFA13D}" destId="{1F039587-6A47-4DD4-846C-FCC5F98B09E3}" srcOrd="0" destOrd="0" presId="urn:microsoft.com/office/officeart/2005/8/layout/hList3"/>
    <dgm:cxn modelId="{5AED6618-8D55-40E6-B2FB-53B69BEC2B08}" type="presOf" srcId="{7B9E6F40-535A-412D-A866-167E96AD25D3}" destId="{3F6F9616-1CA4-4941-BD09-6AF92712E190}" srcOrd="0" destOrd="0" presId="urn:microsoft.com/office/officeart/2005/8/layout/hList3"/>
    <dgm:cxn modelId="{E5DACA7A-6796-45C0-9DBD-57B17369C4C6}" type="presOf" srcId="{3F0AD9BD-4877-4AEA-AAEC-8E3621D6115C}" destId="{5D1CF09E-50D1-4F0F-A283-ABF8BA67217A}" srcOrd="0" destOrd="0" presId="urn:microsoft.com/office/officeart/2005/8/layout/hList3"/>
    <dgm:cxn modelId="{750E9D98-761D-435F-97C4-E84BD7FE3BAA}" srcId="{C7C195D9-83A6-4F2B-A98D-D0513F2ACBEB}" destId="{7B9E6F40-535A-412D-A866-167E96AD25D3}" srcOrd="0" destOrd="0" parTransId="{74928589-C53C-4681-BAB9-44315C3D2CFC}" sibTransId="{73D2280C-1170-43EF-B402-DF3F163CF727}"/>
    <dgm:cxn modelId="{D9DE33DF-F818-4AEE-974D-B6F6E0D14E73}" srcId="{7B9E6F40-535A-412D-A866-167E96AD25D3}" destId="{3F0AD9BD-4877-4AEA-AAEC-8E3621D6115C}" srcOrd="1" destOrd="0" parTransId="{BF9BAE6D-DDA7-4024-BF8C-9B97798DCD6B}" sibTransId="{F34F078D-94D6-4D7B-9BCC-67A7E8997EB8}"/>
    <dgm:cxn modelId="{59A8EE37-876B-41E8-B6AC-B9D1A2FABF3E}" type="presParOf" srcId="{7565E296-AF8D-40A9-B8E8-3FBC0F456F91}" destId="{3F6F9616-1CA4-4941-BD09-6AF92712E190}" srcOrd="0" destOrd="0" presId="urn:microsoft.com/office/officeart/2005/8/layout/hList3"/>
    <dgm:cxn modelId="{0A619BEB-295A-4885-AB1B-5109B1805CDF}" type="presParOf" srcId="{7565E296-AF8D-40A9-B8E8-3FBC0F456F91}" destId="{C1BAB453-0F27-471E-BBFE-B851C6BE1129}" srcOrd="1" destOrd="0" presId="urn:microsoft.com/office/officeart/2005/8/layout/hList3"/>
    <dgm:cxn modelId="{54BA50D4-3F52-4738-95CB-211E5333C744}" type="presParOf" srcId="{C1BAB453-0F27-471E-BBFE-B851C6BE1129}" destId="{314A5A2A-DBD6-4F38-9301-7DDCBE3BAD92}" srcOrd="0" destOrd="0" presId="urn:microsoft.com/office/officeart/2005/8/layout/hList3"/>
    <dgm:cxn modelId="{32515E38-DDAC-439C-932D-010448FAE780}" type="presParOf" srcId="{C1BAB453-0F27-471E-BBFE-B851C6BE1129}" destId="{5D1CF09E-50D1-4F0F-A283-ABF8BA67217A}" srcOrd="1" destOrd="0" presId="urn:microsoft.com/office/officeart/2005/8/layout/hList3"/>
    <dgm:cxn modelId="{82CBDC0E-CD09-487B-ABFE-9FD72F2AD214}" type="presParOf" srcId="{C1BAB453-0F27-471E-BBFE-B851C6BE1129}" destId="{1F039587-6A47-4DD4-846C-FCC5F98B09E3}" srcOrd="2" destOrd="0" presId="urn:microsoft.com/office/officeart/2005/8/layout/hList3"/>
    <dgm:cxn modelId="{0CAEA755-81FC-43FE-B78C-3F96C62DE069}" type="presParOf" srcId="{7565E296-AF8D-40A9-B8E8-3FBC0F456F91}" destId="{709D95EA-F73B-467C-9E6E-EEBA6B010E4A}" srcOrd="2" destOrd="0" presId="urn:microsoft.com/office/officeart/2005/8/layout/hList3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2EEB972-9710-4057-8D51-5D2B4AB13E99}" type="doc">
      <dgm:prSet loTypeId="urn:microsoft.com/office/officeart/2005/8/layout/vList2" loCatId="list" qsTypeId="urn:microsoft.com/office/officeart/2005/8/quickstyle/simple5" qsCatId="simple" csTypeId="urn:microsoft.com/office/officeart/2005/8/colors/colorful3" csCatId="colorful" phldr="1"/>
      <dgm:spPr/>
      <dgm:t>
        <a:bodyPr/>
        <a:lstStyle/>
        <a:p>
          <a:endParaRPr lang="en-US"/>
        </a:p>
      </dgm:t>
    </dgm:pt>
    <dgm:pt modelId="{F8D48473-8319-4D98-824B-892CE0EEFA05}">
      <dgm:prSet custT="1"/>
      <dgm:spPr/>
      <dgm:t>
        <a:bodyPr/>
        <a:lstStyle/>
        <a:p>
          <a:pPr rtl="0"/>
          <a:r>
            <a:rPr lang="en-US" sz="2000" dirty="0" smtClean="0"/>
            <a:t>Educate cafeteria staff about water conservation at cafeteria</a:t>
          </a:r>
          <a:endParaRPr lang="en-US" sz="2000" dirty="0"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a:endParaRPr>
        </a:p>
      </dgm:t>
    </dgm:pt>
    <dgm:pt modelId="{58DDF741-DFD9-4258-888D-F0A55ED0915F}" type="parTrans" cxnId="{50CB5DF5-F636-4D73-8D51-C6FFC4EE1AD0}">
      <dgm:prSet/>
      <dgm:spPr/>
      <dgm:t>
        <a:bodyPr/>
        <a:lstStyle/>
        <a:p>
          <a:endParaRPr lang="en-US" sz="2000"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a:endParaRPr>
        </a:p>
      </dgm:t>
    </dgm:pt>
    <dgm:pt modelId="{AA96704E-C489-4251-AEE2-E2AFC6C7F34E}" type="sibTrans" cxnId="{50CB5DF5-F636-4D73-8D51-C6FFC4EE1AD0}">
      <dgm:prSet/>
      <dgm:spPr/>
      <dgm:t>
        <a:bodyPr/>
        <a:lstStyle/>
        <a:p>
          <a:endParaRPr lang="en-US" sz="2000"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a:endParaRPr>
        </a:p>
      </dgm:t>
    </dgm:pt>
    <dgm:pt modelId="{15791755-30B3-482E-9836-025A600111C9}">
      <dgm:prSet custT="1"/>
      <dgm:spPr/>
      <dgm:t>
        <a:bodyPr/>
        <a:lstStyle/>
        <a:p>
          <a:pPr rtl="0"/>
          <a:r>
            <a:rPr lang="en-US" sz="2000" dirty="0" smtClean="0"/>
            <a:t>Repair any faulty water fixtures</a:t>
          </a:r>
          <a:endParaRPr lang="en-US" sz="2000" dirty="0"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a:endParaRPr>
        </a:p>
      </dgm:t>
    </dgm:pt>
    <dgm:pt modelId="{159FAB20-5630-4641-AE77-3E9694C3E8D8}" type="parTrans" cxnId="{1C1A80EF-863E-4529-90F1-84593A0EDD9F}">
      <dgm:prSet/>
      <dgm:spPr/>
      <dgm:t>
        <a:bodyPr/>
        <a:lstStyle/>
        <a:p>
          <a:endParaRPr lang="en-US" sz="2000"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a:endParaRPr>
        </a:p>
      </dgm:t>
    </dgm:pt>
    <dgm:pt modelId="{5DF3FBE0-8E11-41A4-9906-8CE3E0B76371}" type="sibTrans" cxnId="{1C1A80EF-863E-4529-90F1-84593A0EDD9F}">
      <dgm:prSet/>
      <dgm:spPr/>
      <dgm:t>
        <a:bodyPr/>
        <a:lstStyle/>
        <a:p>
          <a:endParaRPr lang="en-US" sz="2000"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a:endParaRPr>
        </a:p>
      </dgm:t>
    </dgm:pt>
    <dgm:pt modelId="{D3D3182F-12D0-40B0-A919-23FFCEAAFEF3}">
      <dgm:prSet custT="1"/>
      <dgm:spPr/>
      <dgm:t>
        <a:bodyPr/>
        <a:lstStyle/>
        <a:p>
          <a:pPr rtl="0"/>
          <a:r>
            <a:rPr lang="en-US" sz="2000" dirty="0" smtClean="0"/>
            <a:t>Reduce water tap flow from 20.0 to 8.0 L/min for Cafeteria and 8.0 to 2.0 L/min for Washroom</a:t>
          </a:r>
          <a:r>
            <a:rPr lang="en-US" sz="1600" dirty="0" smtClean="0"/>
            <a:t> (follow Government Guideline)</a:t>
          </a:r>
          <a:endParaRPr lang="en-US" sz="1600" dirty="0"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a:endParaRPr>
        </a:p>
      </dgm:t>
    </dgm:pt>
    <dgm:pt modelId="{E937D647-7679-4F7A-BB39-980E4F888CE2}" type="parTrans" cxnId="{122E9726-4D55-43FE-A9A6-A4CA9E284746}">
      <dgm:prSet/>
      <dgm:spPr/>
      <dgm:t>
        <a:bodyPr/>
        <a:lstStyle/>
        <a:p>
          <a:endParaRPr lang="en-US" sz="2000"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a:endParaRPr>
        </a:p>
      </dgm:t>
    </dgm:pt>
    <dgm:pt modelId="{59392502-FA5C-4348-BC81-6687CA100372}" type="sibTrans" cxnId="{122E9726-4D55-43FE-A9A6-A4CA9E284746}">
      <dgm:prSet/>
      <dgm:spPr/>
      <dgm:t>
        <a:bodyPr/>
        <a:lstStyle/>
        <a:p>
          <a:endParaRPr lang="en-US" sz="2000"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a:endParaRPr>
        </a:p>
      </dgm:t>
    </dgm:pt>
    <dgm:pt modelId="{D1D0BF12-B920-4C6B-8685-727823B41BE2}">
      <dgm:prSet custT="1"/>
      <dgm:spPr/>
      <dgm:t>
        <a:bodyPr/>
        <a:lstStyle/>
        <a:p>
          <a:pPr rtl="0"/>
          <a:r>
            <a:rPr lang="en-US" sz="2000" dirty="0" smtClean="0"/>
            <a:t>Perform monthly audit and gathering feedback</a:t>
          </a:r>
          <a:endParaRPr lang="en-US" sz="2000" dirty="0"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a:endParaRPr>
        </a:p>
      </dgm:t>
    </dgm:pt>
    <dgm:pt modelId="{161F1C24-E08E-438D-834F-CD2B02B9AF30}" type="parTrans" cxnId="{C6ACC42F-8A51-41C1-8BCD-67D13C865FDF}">
      <dgm:prSet/>
      <dgm:spPr/>
      <dgm:t>
        <a:bodyPr/>
        <a:lstStyle/>
        <a:p>
          <a:endParaRPr lang="en-US" sz="2000"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a:endParaRPr>
        </a:p>
      </dgm:t>
    </dgm:pt>
    <dgm:pt modelId="{B78FA7F3-E585-484B-8517-3293B813997D}" type="sibTrans" cxnId="{C6ACC42F-8A51-41C1-8BCD-67D13C865FDF}">
      <dgm:prSet/>
      <dgm:spPr/>
      <dgm:t>
        <a:bodyPr/>
        <a:lstStyle/>
        <a:p>
          <a:endParaRPr lang="en-US" sz="2000"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a:endParaRPr>
        </a:p>
      </dgm:t>
    </dgm:pt>
    <dgm:pt modelId="{0D048AA0-EBCF-49DD-A575-FA3840DAE0A2}">
      <dgm:prSet custT="1"/>
      <dgm:spPr/>
      <dgm:t>
        <a:bodyPr/>
        <a:lstStyle/>
        <a:p>
          <a:pPr rtl="0"/>
          <a:r>
            <a:rPr lang="en-US" sz="2000" dirty="0" smtClean="0">
              <a:effectLst>
                <a:glow rad="63500">
                  <a:schemeClr val="accent1">
                    <a:satMod val="175000"/>
                    <a:alpha val="40000"/>
                  </a:schemeClr>
                </a:glow>
              </a:effectLst>
            </a:rPr>
            <a:t>Washroom tap change to self closing type</a:t>
          </a:r>
          <a:endParaRPr lang="en-US" sz="2000" dirty="0"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a:endParaRPr>
        </a:p>
      </dgm:t>
    </dgm:pt>
    <dgm:pt modelId="{4E5828B9-1FD5-4AAF-B9BA-C49310A9C141}" type="parTrans" cxnId="{ACB86CE4-97E8-405E-A40E-2DF337DAC9E4}">
      <dgm:prSet/>
      <dgm:spPr/>
      <dgm:t>
        <a:bodyPr/>
        <a:lstStyle/>
        <a:p>
          <a:endParaRPr lang="en-US" sz="2000"/>
        </a:p>
      </dgm:t>
    </dgm:pt>
    <dgm:pt modelId="{CE28CB0E-1002-4D33-B71B-9C741A7CF8DB}" type="sibTrans" cxnId="{ACB86CE4-97E8-405E-A40E-2DF337DAC9E4}">
      <dgm:prSet/>
      <dgm:spPr/>
      <dgm:t>
        <a:bodyPr/>
        <a:lstStyle/>
        <a:p>
          <a:endParaRPr lang="en-US" sz="2000"/>
        </a:p>
      </dgm:t>
    </dgm:pt>
    <dgm:pt modelId="{EA6C0FEF-E8AA-43D2-9C25-5B98E4299E3F}" type="pres">
      <dgm:prSet presAssocID="{42EEB972-9710-4057-8D51-5D2B4AB13E9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C4687F3E-33DD-4B4D-A1E3-6799D1A77830}" type="pres">
      <dgm:prSet presAssocID="{0D048AA0-EBCF-49DD-A575-FA3840DAE0A2}" presName="parentText" presStyleLbl="node1" presStyleIdx="0" presStyleCnt="5" custScaleY="105909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B030504-528F-445D-9679-04A8E3207162}" type="pres">
      <dgm:prSet presAssocID="{CE28CB0E-1002-4D33-B71B-9C741A7CF8DB}" presName="spacer" presStyleCnt="0"/>
      <dgm:spPr/>
    </dgm:pt>
    <dgm:pt modelId="{D5CD3BB8-4661-41FD-BB72-F180C78DE21C}" type="pres">
      <dgm:prSet presAssocID="{F8D48473-8319-4D98-824B-892CE0EEFA05}" presName="parentText" presStyleLbl="node1" presStyleIdx="1" presStyleCnt="5" custScaleY="93935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99B9D6D-B135-42FA-93C9-9A7AC7B1493B}" type="pres">
      <dgm:prSet presAssocID="{AA96704E-C489-4251-AEE2-E2AFC6C7F34E}" presName="spacer" presStyleCnt="0"/>
      <dgm:spPr/>
      <dgm:t>
        <a:bodyPr/>
        <a:lstStyle/>
        <a:p>
          <a:endParaRPr lang="en-US"/>
        </a:p>
      </dgm:t>
    </dgm:pt>
    <dgm:pt modelId="{4E0C255D-1DE4-4D1C-8F8E-6F16234D782D}" type="pres">
      <dgm:prSet presAssocID="{15791755-30B3-482E-9836-025A600111C9}" presName="parentText" presStyleLbl="node1" presStyleIdx="2" presStyleCnt="5" custScaleY="85236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7466FFE-BE4E-4BDB-A073-E154DC4F39AC}" type="pres">
      <dgm:prSet presAssocID="{5DF3FBE0-8E11-41A4-9906-8CE3E0B76371}" presName="spacer" presStyleCnt="0"/>
      <dgm:spPr/>
      <dgm:t>
        <a:bodyPr/>
        <a:lstStyle/>
        <a:p>
          <a:endParaRPr lang="en-US"/>
        </a:p>
      </dgm:t>
    </dgm:pt>
    <dgm:pt modelId="{D317EE38-E2D6-4A55-B133-A701172FC4FA}" type="pres">
      <dgm:prSet presAssocID="{D3D3182F-12D0-40B0-A919-23FFCEAAFEF3}" presName="parentText" presStyleLbl="node1" presStyleIdx="3" presStyleCnt="5" custScaleY="97112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745AAC6-C077-471D-AF5E-74A73DD966AF}" type="pres">
      <dgm:prSet presAssocID="{59392502-FA5C-4348-BC81-6687CA100372}" presName="spacer" presStyleCnt="0"/>
      <dgm:spPr/>
      <dgm:t>
        <a:bodyPr/>
        <a:lstStyle/>
        <a:p>
          <a:endParaRPr lang="en-US"/>
        </a:p>
      </dgm:t>
    </dgm:pt>
    <dgm:pt modelId="{7F4B5F94-8AF4-443F-A701-2881A68B9C32}" type="pres">
      <dgm:prSet presAssocID="{D1D0BF12-B920-4C6B-8685-727823B41BE2}" presName="parentText" presStyleLbl="node1" presStyleIdx="4" presStyleCnt="5" custScaleY="79217">
        <dgm:presLayoutVars>
          <dgm:chMax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DE3C2FB4-4F07-4CC4-8D70-7C2CCE68AFF8}" type="presOf" srcId="{D3D3182F-12D0-40B0-A919-23FFCEAAFEF3}" destId="{D317EE38-E2D6-4A55-B133-A701172FC4FA}" srcOrd="0" destOrd="0" presId="urn:microsoft.com/office/officeart/2005/8/layout/vList2"/>
    <dgm:cxn modelId="{50CB5DF5-F636-4D73-8D51-C6FFC4EE1AD0}" srcId="{42EEB972-9710-4057-8D51-5D2B4AB13E99}" destId="{F8D48473-8319-4D98-824B-892CE0EEFA05}" srcOrd="1" destOrd="0" parTransId="{58DDF741-DFD9-4258-888D-F0A55ED0915F}" sibTransId="{AA96704E-C489-4251-AEE2-E2AFC6C7F34E}"/>
    <dgm:cxn modelId="{1C1A80EF-863E-4529-90F1-84593A0EDD9F}" srcId="{42EEB972-9710-4057-8D51-5D2B4AB13E99}" destId="{15791755-30B3-482E-9836-025A600111C9}" srcOrd="2" destOrd="0" parTransId="{159FAB20-5630-4641-AE77-3E9694C3E8D8}" sibTransId="{5DF3FBE0-8E11-41A4-9906-8CE3E0B76371}"/>
    <dgm:cxn modelId="{F23629DF-6FFA-486B-81CE-2AE3E6A709D0}" type="presOf" srcId="{F8D48473-8319-4D98-824B-892CE0EEFA05}" destId="{D5CD3BB8-4661-41FD-BB72-F180C78DE21C}" srcOrd="0" destOrd="0" presId="urn:microsoft.com/office/officeart/2005/8/layout/vList2"/>
    <dgm:cxn modelId="{C6ACC42F-8A51-41C1-8BCD-67D13C865FDF}" srcId="{42EEB972-9710-4057-8D51-5D2B4AB13E99}" destId="{D1D0BF12-B920-4C6B-8685-727823B41BE2}" srcOrd="4" destOrd="0" parTransId="{161F1C24-E08E-438D-834F-CD2B02B9AF30}" sibTransId="{B78FA7F3-E585-484B-8517-3293B813997D}"/>
    <dgm:cxn modelId="{122E9726-4D55-43FE-A9A6-A4CA9E284746}" srcId="{42EEB972-9710-4057-8D51-5D2B4AB13E99}" destId="{D3D3182F-12D0-40B0-A919-23FFCEAAFEF3}" srcOrd="3" destOrd="0" parTransId="{E937D647-7679-4F7A-BB39-980E4F888CE2}" sibTransId="{59392502-FA5C-4348-BC81-6687CA100372}"/>
    <dgm:cxn modelId="{3EE04741-2E19-4317-AA34-3AD1CD9B48D9}" type="presOf" srcId="{15791755-30B3-482E-9836-025A600111C9}" destId="{4E0C255D-1DE4-4D1C-8F8E-6F16234D782D}" srcOrd="0" destOrd="0" presId="urn:microsoft.com/office/officeart/2005/8/layout/vList2"/>
    <dgm:cxn modelId="{EB0917EB-C477-422B-B9FF-EE877F42BE42}" type="presOf" srcId="{0D048AA0-EBCF-49DD-A575-FA3840DAE0A2}" destId="{C4687F3E-33DD-4B4D-A1E3-6799D1A77830}" srcOrd="0" destOrd="0" presId="urn:microsoft.com/office/officeart/2005/8/layout/vList2"/>
    <dgm:cxn modelId="{341DAA07-06D1-442B-B8DE-A38BF3A1FA9B}" type="presOf" srcId="{42EEB972-9710-4057-8D51-5D2B4AB13E99}" destId="{EA6C0FEF-E8AA-43D2-9C25-5B98E4299E3F}" srcOrd="0" destOrd="0" presId="urn:microsoft.com/office/officeart/2005/8/layout/vList2"/>
    <dgm:cxn modelId="{ACB86CE4-97E8-405E-A40E-2DF337DAC9E4}" srcId="{42EEB972-9710-4057-8D51-5D2B4AB13E99}" destId="{0D048AA0-EBCF-49DD-A575-FA3840DAE0A2}" srcOrd="0" destOrd="0" parTransId="{4E5828B9-1FD5-4AAF-B9BA-C49310A9C141}" sibTransId="{CE28CB0E-1002-4D33-B71B-9C741A7CF8DB}"/>
    <dgm:cxn modelId="{5122325D-7F68-4A53-A932-7492DE1B0C9F}" type="presOf" srcId="{D1D0BF12-B920-4C6B-8685-727823B41BE2}" destId="{7F4B5F94-8AF4-443F-A701-2881A68B9C32}" srcOrd="0" destOrd="0" presId="urn:microsoft.com/office/officeart/2005/8/layout/vList2"/>
    <dgm:cxn modelId="{0B637E2B-FD1F-4AFB-8BC4-D2FC87779407}" type="presParOf" srcId="{EA6C0FEF-E8AA-43D2-9C25-5B98E4299E3F}" destId="{C4687F3E-33DD-4B4D-A1E3-6799D1A77830}" srcOrd="0" destOrd="0" presId="urn:microsoft.com/office/officeart/2005/8/layout/vList2"/>
    <dgm:cxn modelId="{74C7760E-DE81-4A08-A84E-11B2F346FE0B}" type="presParOf" srcId="{EA6C0FEF-E8AA-43D2-9C25-5B98E4299E3F}" destId="{EB030504-528F-445D-9679-04A8E3207162}" srcOrd="1" destOrd="0" presId="urn:microsoft.com/office/officeart/2005/8/layout/vList2"/>
    <dgm:cxn modelId="{389C3721-0520-4E0D-866B-06033B3AA496}" type="presParOf" srcId="{EA6C0FEF-E8AA-43D2-9C25-5B98E4299E3F}" destId="{D5CD3BB8-4661-41FD-BB72-F180C78DE21C}" srcOrd="2" destOrd="0" presId="urn:microsoft.com/office/officeart/2005/8/layout/vList2"/>
    <dgm:cxn modelId="{E7354D15-14E6-4676-975A-D143C734EBDE}" type="presParOf" srcId="{EA6C0FEF-E8AA-43D2-9C25-5B98E4299E3F}" destId="{A99B9D6D-B135-42FA-93C9-9A7AC7B1493B}" srcOrd="3" destOrd="0" presId="urn:microsoft.com/office/officeart/2005/8/layout/vList2"/>
    <dgm:cxn modelId="{91AD9238-8735-4CE3-85D4-69807E7864B2}" type="presParOf" srcId="{EA6C0FEF-E8AA-43D2-9C25-5B98E4299E3F}" destId="{4E0C255D-1DE4-4D1C-8F8E-6F16234D782D}" srcOrd="4" destOrd="0" presId="urn:microsoft.com/office/officeart/2005/8/layout/vList2"/>
    <dgm:cxn modelId="{3A568B7E-E69F-4D9A-B6A7-2F358817E7E4}" type="presParOf" srcId="{EA6C0FEF-E8AA-43D2-9C25-5B98E4299E3F}" destId="{57466FFE-BE4E-4BDB-A073-E154DC4F39AC}" srcOrd="5" destOrd="0" presId="urn:microsoft.com/office/officeart/2005/8/layout/vList2"/>
    <dgm:cxn modelId="{F3521709-20A2-4C56-BFEB-E9162EA6AA0A}" type="presParOf" srcId="{EA6C0FEF-E8AA-43D2-9C25-5B98E4299E3F}" destId="{D317EE38-E2D6-4A55-B133-A701172FC4FA}" srcOrd="6" destOrd="0" presId="urn:microsoft.com/office/officeart/2005/8/layout/vList2"/>
    <dgm:cxn modelId="{C9147818-27B9-4901-B8FD-DEAA8E376452}" type="presParOf" srcId="{EA6C0FEF-E8AA-43D2-9C25-5B98E4299E3F}" destId="{B745AAC6-C077-471D-AF5E-74A73DD966AF}" srcOrd="7" destOrd="0" presId="urn:microsoft.com/office/officeart/2005/8/layout/vList2"/>
    <dgm:cxn modelId="{6A264FE2-A3FD-4AED-8890-286A608ADBDD}" type="presParOf" srcId="{EA6C0FEF-E8AA-43D2-9C25-5B98E4299E3F}" destId="{7F4B5F94-8AF4-443F-A701-2881A68B9C32}" srcOrd="8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xmlns="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3">
  <dgm:title val=""/>
  <dgm:desc val=""/>
  <dgm:catLst>
    <dgm:cat type="list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5" srcId="0" destId="1" srcOrd="0" destOrd="0"/>
        <dgm:cxn modelId="6" srcId="1" destId="2" srcOrd="0" destOrd="0"/>
        <dgm:cxn modelId="7" srcId="1" destId="3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</dgm:ptLst>
      <dgm:cxnLst>
        <dgm:cxn modelId="6" srcId="0" destId="1" srcOrd="0" destOrd="0"/>
        <dgm:cxn modelId="7" srcId="1" destId="2" srcOrd="0" destOrd="0"/>
        <dgm:cxn modelId="8" srcId="1" destId="3" srcOrd="1" destOrd="0"/>
        <dgm:cxn modelId="9" srcId="1" destId="4" srcOrd="2" destOrd="0"/>
        <dgm:cxn modelId="10" srcId="1" destId="5" srcOrd="3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roof" refType="w"/>
      <dgm:constr type="h" for="ch" forName="roof" refType="h" fact="0.3"/>
      <dgm:constr type="primFontSz" for="ch" forName="roof" val="65"/>
      <dgm:constr type="w" for="ch" forName="pillars" refType="w"/>
      <dgm:constr type="h" for="ch" forName="pillars" refType="h" fact="0.63"/>
      <dgm:constr type="t" for="ch" forName="pillars" refType="h" fact="0.3"/>
      <dgm:constr type="primFontSz" for="des" forName="pillar1" val="65"/>
      <dgm:constr type="primFontSz" for="des" forName="pillarX" refType="primFontSz" refFor="des" refForName="pillar1" op="equ"/>
      <dgm:constr type="w" for="ch" forName="base" refType="w"/>
      <dgm:constr type="h" for="ch" forName="base" refType="h" fact="0.07"/>
      <dgm:constr type="t" for="ch" forName="base" refType="h" fact="0.93"/>
    </dgm:constrLst>
    <dgm:ruleLst/>
    <dgm:forEach name="Name0" axis="ch" ptType="node" cnt="1">
      <dgm:layoutNode name="roof" styleLbl="dkBgShp">
        <dgm:alg type="tx"/>
        <dgm:shape xmlns:r="http://schemas.openxmlformats.org/officeDocument/2006/relationships" type="rect" r:blip="">
          <dgm:adjLst/>
        </dgm:shape>
        <dgm:presOf axis="self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pillars" styleLbl="node1">
        <dgm:choose name="Name1">
          <dgm:if name="Name2" func="var" arg="dir" op="equ" val="norm">
            <dgm:alg type="lin">
              <dgm:param type="linDir" val="fromL"/>
            </dgm:alg>
          </dgm:if>
          <dgm:else name="Name3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illar1" refType="w"/>
          <dgm:constr type="h" for="ch" forName="pillar1" refType="h"/>
          <dgm:constr type="w" for="ch" forName="pillarX" refType="w"/>
          <dgm:constr type="h" for="ch" forName="pillarX" refType="h"/>
        </dgm:constrLst>
        <dgm:ruleLst/>
        <dgm:layoutNode name="pillar1" styleLbl="node1">
          <dgm:varLst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forEach name="Name4" axis="ch" ptType="node" st="2">
          <dgm:layoutNode name="pillarX" styleLbl="node1">
            <dgm:varLst>
              <dgm:bulletEnabled val="1"/>
            </dgm:varLst>
            <dgm:alg type="tx"/>
            <dgm:shape xmlns:r="http://schemas.openxmlformats.org/officeDocument/2006/relationships" type="rect" r:blip="">
              <dgm:adjLst/>
            </dgm:shape>
            <dgm:presOf axis="desOrSelf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forEach>
      </dgm:layoutNode>
      <dgm:layoutNode name="base" styleLbl="dkBgShp">
        <dgm:alg type="sp"/>
        <dgm:shape xmlns:r="http://schemas.openxmlformats.org/officeDocument/2006/relationships" type="rect" r:blip="">
          <dgm:adjLst/>
        </dgm:shape>
        <dgm:presOf/>
        <dgm:constrLst/>
        <dgm:ruleLst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9814</cdr:x>
      <cdr:y>0.07349</cdr:y>
    </cdr:from>
    <cdr:to>
      <cdr:x>0.77797</cdr:x>
      <cdr:y>0.51958</cdr:y>
    </cdr:to>
    <cdr:sp macro="" textlink="">
      <cdr:nvSpPr>
        <cdr:cNvPr id="2" name="Freeform 1"/>
        <cdr:cNvSpPr/>
      </cdr:nvSpPr>
      <cdr:spPr bwMode="auto">
        <a:xfrm xmlns:a="http://schemas.openxmlformats.org/drawingml/2006/main">
          <a:off x="1489679" y="324288"/>
          <a:ext cx="4359348" cy="1968353"/>
        </a:xfrm>
        <a:custGeom xmlns:a="http://schemas.openxmlformats.org/drawingml/2006/main">
          <a:avLst/>
          <a:gdLst>
            <a:gd name="connsiteX0" fmla="*/ 0 w 4359348"/>
            <a:gd name="connsiteY0" fmla="*/ 0 h 1968353"/>
            <a:gd name="connsiteX1" fmla="*/ 63795 w 4359348"/>
            <a:gd name="connsiteY1" fmla="*/ 10633 h 1968353"/>
            <a:gd name="connsiteX2" fmla="*/ 138223 w 4359348"/>
            <a:gd name="connsiteY2" fmla="*/ 31898 h 1968353"/>
            <a:gd name="connsiteX3" fmla="*/ 180753 w 4359348"/>
            <a:gd name="connsiteY3" fmla="*/ 42530 h 1968353"/>
            <a:gd name="connsiteX4" fmla="*/ 244548 w 4359348"/>
            <a:gd name="connsiteY4" fmla="*/ 63796 h 1968353"/>
            <a:gd name="connsiteX5" fmla="*/ 276446 w 4359348"/>
            <a:gd name="connsiteY5" fmla="*/ 74428 h 1968353"/>
            <a:gd name="connsiteX6" fmla="*/ 372139 w 4359348"/>
            <a:gd name="connsiteY6" fmla="*/ 116958 h 1968353"/>
            <a:gd name="connsiteX7" fmla="*/ 404037 w 4359348"/>
            <a:gd name="connsiteY7" fmla="*/ 127591 h 1968353"/>
            <a:gd name="connsiteX8" fmla="*/ 435934 w 4359348"/>
            <a:gd name="connsiteY8" fmla="*/ 148856 h 1968353"/>
            <a:gd name="connsiteX9" fmla="*/ 499730 w 4359348"/>
            <a:gd name="connsiteY9" fmla="*/ 170121 h 1968353"/>
            <a:gd name="connsiteX10" fmla="*/ 531627 w 4359348"/>
            <a:gd name="connsiteY10" fmla="*/ 180754 h 1968353"/>
            <a:gd name="connsiteX11" fmla="*/ 563525 w 4359348"/>
            <a:gd name="connsiteY11" fmla="*/ 191386 h 1968353"/>
            <a:gd name="connsiteX12" fmla="*/ 584790 w 4359348"/>
            <a:gd name="connsiteY12" fmla="*/ 223284 h 1968353"/>
            <a:gd name="connsiteX13" fmla="*/ 627320 w 4359348"/>
            <a:gd name="connsiteY13" fmla="*/ 233916 h 1968353"/>
            <a:gd name="connsiteX14" fmla="*/ 691116 w 4359348"/>
            <a:gd name="connsiteY14" fmla="*/ 255182 h 1968353"/>
            <a:gd name="connsiteX15" fmla="*/ 723013 w 4359348"/>
            <a:gd name="connsiteY15" fmla="*/ 276447 h 1968353"/>
            <a:gd name="connsiteX16" fmla="*/ 786809 w 4359348"/>
            <a:gd name="connsiteY16" fmla="*/ 297712 h 1968353"/>
            <a:gd name="connsiteX17" fmla="*/ 818707 w 4359348"/>
            <a:gd name="connsiteY17" fmla="*/ 308344 h 1968353"/>
            <a:gd name="connsiteX18" fmla="*/ 850604 w 4359348"/>
            <a:gd name="connsiteY18" fmla="*/ 329609 h 1968353"/>
            <a:gd name="connsiteX19" fmla="*/ 882502 w 4359348"/>
            <a:gd name="connsiteY19" fmla="*/ 340242 h 1968353"/>
            <a:gd name="connsiteX20" fmla="*/ 946297 w 4359348"/>
            <a:gd name="connsiteY20" fmla="*/ 382772 h 1968353"/>
            <a:gd name="connsiteX21" fmla="*/ 978195 w 4359348"/>
            <a:gd name="connsiteY21" fmla="*/ 404037 h 1968353"/>
            <a:gd name="connsiteX22" fmla="*/ 1063255 w 4359348"/>
            <a:gd name="connsiteY22" fmla="*/ 435935 h 1968353"/>
            <a:gd name="connsiteX23" fmla="*/ 1127051 w 4359348"/>
            <a:gd name="connsiteY23" fmla="*/ 478465 h 1968353"/>
            <a:gd name="connsiteX24" fmla="*/ 1148316 w 4359348"/>
            <a:gd name="connsiteY24" fmla="*/ 510363 h 1968353"/>
            <a:gd name="connsiteX25" fmla="*/ 1212111 w 4359348"/>
            <a:gd name="connsiteY25" fmla="*/ 531628 h 1968353"/>
            <a:gd name="connsiteX26" fmla="*/ 1233376 w 4359348"/>
            <a:gd name="connsiteY26" fmla="*/ 563526 h 1968353"/>
            <a:gd name="connsiteX27" fmla="*/ 1329069 w 4359348"/>
            <a:gd name="connsiteY27" fmla="*/ 616689 h 1968353"/>
            <a:gd name="connsiteX28" fmla="*/ 1414130 w 4359348"/>
            <a:gd name="connsiteY28" fmla="*/ 669851 h 1968353"/>
            <a:gd name="connsiteX29" fmla="*/ 1446027 w 4359348"/>
            <a:gd name="connsiteY29" fmla="*/ 680484 h 1968353"/>
            <a:gd name="connsiteX30" fmla="*/ 1467293 w 4359348"/>
            <a:gd name="connsiteY30" fmla="*/ 701749 h 1968353"/>
            <a:gd name="connsiteX31" fmla="*/ 1531088 w 4359348"/>
            <a:gd name="connsiteY31" fmla="*/ 744279 h 1968353"/>
            <a:gd name="connsiteX32" fmla="*/ 1552353 w 4359348"/>
            <a:gd name="connsiteY32" fmla="*/ 776177 h 1968353"/>
            <a:gd name="connsiteX33" fmla="*/ 1626781 w 4359348"/>
            <a:gd name="connsiteY33" fmla="*/ 850605 h 1968353"/>
            <a:gd name="connsiteX34" fmla="*/ 1648046 w 4359348"/>
            <a:gd name="connsiteY34" fmla="*/ 882503 h 1968353"/>
            <a:gd name="connsiteX35" fmla="*/ 1711841 w 4359348"/>
            <a:gd name="connsiteY35" fmla="*/ 935665 h 1968353"/>
            <a:gd name="connsiteX36" fmla="*/ 1733107 w 4359348"/>
            <a:gd name="connsiteY36" fmla="*/ 967563 h 1968353"/>
            <a:gd name="connsiteX37" fmla="*/ 1765004 w 4359348"/>
            <a:gd name="connsiteY37" fmla="*/ 1010093 h 1968353"/>
            <a:gd name="connsiteX38" fmla="*/ 1786269 w 4359348"/>
            <a:gd name="connsiteY38" fmla="*/ 1041991 h 1968353"/>
            <a:gd name="connsiteX39" fmla="*/ 1818167 w 4359348"/>
            <a:gd name="connsiteY39" fmla="*/ 1073889 h 1968353"/>
            <a:gd name="connsiteX40" fmla="*/ 1860697 w 4359348"/>
            <a:gd name="connsiteY40" fmla="*/ 1137684 h 1968353"/>
            <a:gd name="connsiteX41" fmla="*/ 1935125 w 4359348"/>
            <a:gd name="connsiteY41" fmla="*/ 1212112 h 1968353"/>
            <a:gd name="connsiteX42" fmla="*/ 1977655 w 4359348"/>
            <a:gd name="connsiteY42" fmla="*/ 1265275 h 1968353"/>
            <a:gd name="connsiteX43" fmla="*/ 2041451 w 4359348"/>
            <a:gd name="connsiteY43" fmla="*/ 1286540 h 1968353"/>
            <a:gd name="connsiteX44" fmla="*/ 2105246 w 4359348"/>
            <a:gd name="connsiteY44" fmla="*/ 1307805 h 1968353"/>
            <a:gd name="connsiteX45" fmla="*/ 2137144 w 4359348"/>
            <a:gd name="connsiteY45" fmla="*/ 1318437 h 1968353"/>
            <a:gd name="connsiteX46" fmla="*/ 2200939 w 4359348"/>
            <a:gd name="connsiteY46" fmla="*/ 1329070 h 1968353"/>
            <a:gd name="connsiteX47" fmla="*/ 2232837 w 4359348"/>
            <a:gd name="connsiteY47" fmla="*/ 1339703 h 1968353"/>
            <a:gd name="connsiteX48" fmla="*/ 2360427 w 4359348"/>
            <a:gd name="connsiteY48" fmla="*/ 1371600 h 1968353"/>
            <a:gd name="connsiteX49" fmla="*/ 2434855 w 4359348"/>
            <a:gd name="connsiteY49" fmla="*/ 1403498 h 1968353"/>
            <a:gd name="connsiteX50" fmla="*/ 2477386 w 4359348"/>
            <a:gd name="connsiteY50" fmla="*/ 1424763 h 1968353"/>
            <a:gd name="connsiteX51" fmla="*/ 2509283 w 4359348"/>
            <a:gd name="connsiteY51" fmla="*/ 1435396 h 1968353"/>
            <a:gd name="connsiteX52" fmla="*/ 2541181 w 4359348"/>
            <a:gd name="connsiteY52" fmla="*/ 1456661 h 1968353"/>
            <a:gd name="connsiteX53" fmla="*/ 2583711 w 4359348"/>
            <a:gd name="connsiteY53" fmla="*/ 1467293 h 1968353"/>
            <a:gd name="connsiteX54" fmla="*/ 2626241 w 4359348"/>
            <a:gd name="connsiteY54" fmla="*/ 1488558 h 1968353"/>
            <a:gd name="connsiteX55" fmla="*/ 2668772 w 4359348"/>
            <a:gd name="connsiteY55" fmla="*/ 1499191 h 1968353"/>
            <a:gd name="connsiteX56" fmla="*/ 2700669 w 4359348"/>
            <a:gd name="connsiteY56" fmla="*/ 1509823 h 1968353"/>
            <a:gd name="connsiteX57" fmla="*/ 2775097 w 4359348"/>
            <a:gd name="connsiteY57" fmla="*/ 1541721 h 1968353"/>
            <a:gd name="connsiteX58" fmla="*/ 2806995 w 4359348"/>
            <a:gd name="connsiteY58" fmla="*/ 1562986 h 1968353"/>
            <a:gd name="connsiteX59" fmla="*/ 2870790 w 4359348"/>
            <a:gd name="connsiteY59" fmla="*/ 1584251 h 1968353"/>
            <a:gd name="connsiteX60" fmla="*/ 2902688 w 4359348"/>
            <a:gd name="connsiteY60" fmla="*/ 1594884 h 1968353"/>
            <a:gd name="connsiteX61" fmla="*/ 3083441 w 4359348"/>
            <a:gd name="connsiteY61" fmla="*/ 1616149 h 1968353"/>
            <a:gd name="connsiteX62" fmla="*/ 3125972 w 4359348"/>
            <a:gd name="connsiteY62" fmla="*/ 1626782 h 1968353"/>
            <a:gd name="connsiteX63" fmla="*/ 3157869 w 4359348"/>
            <a:gd name="connsiteY63" fmla="*/ 1648047 h 1968353"/>
            <a:gd name="connsiteX64" fmla="*/ 3211032 w 4359348"/>
            <a:gd name="connsiteY64" fmla="*/ 1658679 h 1968353"/>
            <a:gd name="connsiteX65" fmla="*/ 3253562 w 4359348"/>
            <a:gd name="connsiteY65" fmla="*/ 1679944 h 1968353"/>
            <a:gd name="connsiteX66" fmla="*/ 3285460 w 4359348"/>
            <a:gd name="connsiteY66" fmla="*/ 1690577 h 1968353"/>
            <a:gd name="connsiteX67" fmla="*/ 3317358 w 4359348"/>
            <a:gd name="connsiteY67" fmla="*/ 1711842 h 1968353"/>
            <a:gd name="connsiteX68" fmla="*/ 3359888 w 4359348"/>
            <a:gd name="connsiteY68" fmla="*/ 1722475 h 1968353"/>
            <a:gd name="connsiteX69" fmla="*/ 3402418 w 4359348"/>
            <a:gd name="connsiteY69" fmla="*/ 1743740 h 1968353"/>
            <a:gd name="connsiteX70" fmla="*/ 3434316 w 4359348"/>
            <a:gd name="connsiteY70" fmla="*/ 1754372 h 1968353"/>
            <a:gd name="connsiteX71" fmla="*/ 3519376 w 4359348"/>
            <a:gd name="connsiteY71" fmla="*/ 1786270 h 1968353"/>
            <a:gd name="connsiteX72" fmla="*/ 3551274 w 4359348"/>
            <a:gd name="connsiteY72" fmla="*/ 1807535 h 1968353"/>
            <a:gd name="connsiteX73" fmla="*/ 3625702 w 4359348"/>
            <a:gd name="connsiteY73" fmla="*/ 1828800 h 1968353"/>
            <a:gd name="connsiteX74" fmla="*/ 3657600 w 4359348"/>
            <a:gd name="connsiteY74" fmla="*/ 1839433 h 1968353"/>
            <a:gd name="connsiteX75" fmla="*/ 3721395 w 4359348"/>
            <a:gd name="connsiteY75" fmla="*/ 1871330 h 1968353"/>
            <a:gd name="connsiteX76" fmla="*/ 3912781 w 4359348"/>
            <a:gd name="connsiteY76" fmla="*/ 1892596 h 1968353"/>
            <a:gd name="connsiteX77" fmla="*/ 3955311 w 4359348"/>
            <a:gd name="connsiteY77" fmla="*/ 1903228 h 1968353"/>
            <a:gd name="connsiteX78" fmla="*/ 4008474 w 4359348"/>
            <a:gd name="connsiteY78" fmla="*/ 1913861 h 1968353"/>
            <a:gd name="connsiteX79" fmla="*/ 4040372 w 4359348"/>
            <a:gd name="connsiteY79" fmla="*/ 1924493 h 1968353"/>
            <a:gd name="connsiteX80" fmla="*/ 4093534 w 4359348"/>
            <a:gd name="connsiteY80" fmla="*/ 1935126 h 1968353"/>
            <a:gd name="connsiteX81" fmla="*/ 4136065 w 4359348"/>
            <a:gd name="connsiteY81" fmla="*/ 1945758 h 1968353"/>
            <a:gd name="connsiteX82" fmla="*/ 4231758 w 4359348"/>
            <a:gd name="connsiteY82" fmla="*/ 1956391 h 1968353"/>
            <a:gd name="connsiteX83" fmla="*/ 4359348 w 4359348"/>
            <a:gd name="connsiteY83" fmla="*/ 1967023 h 1968353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  <a:cxn ang="0">
              <a:pos x="connsiteX5" y="connsiteY5"/>
            </a:cxn>
            <a:cxn ang="0">
              <a:pos x="connsiteX6" y="connsiteY6"/>
            </a:cxn>
            <a:cxn ang="0">
              <a:pos x="connsiteX7" y="connsiteY7"/>
            </a:cxn>
            <a:cxn ang="0">
              <a:pos x="connsiteX8" y="connsiteY8"/>
            </a:cxn>
            <a:cxn ang="0">
              <a:pos x="connsiteX9" y="connsiteY9"/>
            </a:cxn>
            <a:cxn ang="0">
              <a:pos x="connsiteX10" y="connsiteY10"/>
            </a:cxn>
            <a:cxn ang="0">
              <a:pos x="connsiteX11" y="connsiteY11"/>
            </a:cxn>
            <a:cxn ang="0">
              <a:pos x="connsiteX12" y="connsiteY12"/>
            </a:cxn>
            <a:cxn ang="0">
              <a:pos x="connsiteX13" y="connsiteY13"/>
            </a:cxn>
            <a:cxn ang="0">
              <a:pos x="connsiteX14" y="connsiteY14"/>
            </a:cxn>
            <a:cxn ang="0">
              <a:pos x="connsiteX15" y="connsiteY15"/>
            </a:cxn>
            <a:cxn ang="0">
              <a:pos x="connsiteX16" y="connsiteY16"/>
            </a:cxn>
            <a:cxn ang="0">
              <a:pos x="connsiteX17" y="connsiteY17"/>
            </a:cxn>
            <a:cxn ang="0">
              <a:pos x="connsiteX18" y="connsiteY18"/>
            </a:cxn>
            <a:cxn ang="0">
              <a:pos x="connsiteX19" y="connsiteY19"/>
            </a:cxn>
            <a:cxn ang="0">
              <a:pos x="connsiteX20" y="connsiteY20"/>
            </a:cxn>
            <a:cxn ang="0">
              <a:pos x="connsiteX21" y="connsiteY21"/>
            </a:cxn>
            <a:cxn ang="0">
              <a:pos x="connsiteX22" y="connsiteY22"/>
            </a:cxn>
            <a:cxn ang="0">
              <a:pos x="connsiteX23" y="connsiteY23"/>
            </a:cxn>
            <a:cxn ang="0">
              <a:pos x="connsiteX24" y="connsiteY24"/>
            </a:cxn>
            <a:cxn ang="0">
              <a:pos x="connsiteX25" y="connsiteY25"/>
            </a:cxn>
            <a:cxn ang="0">
              <a:pos x="connsiteX26" y="connsiteY26"/>
            </a:cxn>
            <a:cxn ang="0">
              <a:pos x="connsiteX27" y="connsiteY27"/>
            </a:cxn>
            <a:cxn ang="0">
              <a:pos x="connsiteX28" y="connsiteY28"/>
            </a:cxn>
            <a:cxn ang="0">
              <a:pos x="connsiteX29" y="connsiteY29"/>
            </a:cxn>
            <a:cxn ang="0">
              <a:pos x="connsiteX30" y="connsiteY30"/>
            </a:cxn>
            <a:cxn ang="0">
              <a:pos x="connsiteX31" y="connsiteY31"/>
            </a:cxn>
            <a:cxn ang="0">
              <a:pos x="connsiteX32" y="connsiteY32"/>
            </a:cxn>
            <a:cxn ang="0">
              <a:pos x="connsiteX33" y="connsiteY33"/>
            </a:cxn>
            <a:cxn ang="0">
              <a:pos x="connsiteX34" y="connsiteY34"/>
            </a:cxn>
            <a:cxn ang="0">
              <a:pos x="connsiteX35" y="connsiteY35"/>
            </a:cxn>
            <a:cxn ang="0">
              <a:pos x="connsiteX36" y="connsiteY36"/>
            </a:cxn>
            <a:cxn ang="0">
              <a:pos x="connsiteX37" y="connsiteY37"/>
            </a:cxn>
            <a:cxn ang="0">
              <a:pos x="connsiteX38" y="connsiteY38"/>
            </a:cxn>
            <a:cxn ang="0">
              <a:pos x="connsiteX39" y="connsiteY39"/>
            </a:cxn>
            <a:cxn ang="0">
              <a:pos x="connsiteX40" y="connsiteY40"/>
            </a:cxn>
            <a:cxn ang="0">
              <a:pos x="connsiteX41" y="connsiteY41"/>
            </a:cxn>
            <a:cxn ang="0">
              <a:pos x="connsiteX42" y="connsiteY42"/>
            </a:cxn>
            <a:cxn ang="0">
              <a:pos x="connsiteX43" y="connsiteY43"/>
            </a:cxn>
            <a:cxn ang="0">
              <a:pos x="connsiteX44" y="connsiteY44"/>
            </a:cxn>
            <a:cxn ang="0">
              <a:pos x="connsiteX45" y="connsiteY45"/>
            </a:cxn>
            <a:cxn ang="0">
              <a:pos x="connsiteX46" y="connsiteY46"/>
            </a:cxn>
            <a:cxn ang="0">
              <a:pos x="connsiteX47" y="connsiteY47"/>
            </a:cxn>
            <a:cxn ang="0">
              <a:pos x="connsiteX48" y="connsiteY48"/>
            </a:cxn>
            <a:cxn ang="0">
              <a:pos x="connsiteX49" y="connsiteY49"/>
            </a:cxn>
            <a:cxn ang="0">
              <a:pos x="connsiteX50" y="connsiteY50"/>
            </a:cxn>
            <a:cxn ang="0">
              <a:pos x="connsiteX51" y="connsiteY51"/>
            </a:cxn>
            <a:cxn ang="0">
              <a:pos x="connsiteX52" y="connsiteY52"/>
            </a:cxn>
            <a:cxn ang="0">
              <a:pos x="connsiteX53" y="connsiteY53"/>
            </a:cxn>
            <a:cxn ang="0">
              <a:pos x="connsiteX54" y="connsiteY54"/>
            </a:cxn>
            <a:cxn ang="0">
              <a:pos x="connsiteX55" y="connsiteY55"/>
            </a:cxn>
            <a:cxn ang="0">
              <a:pos x="connsiteX56" y="connsiteY56"/>
            </a:cxn>
            <a:cxn ang="0">
              <a:pos x="connsiteX57" y="connsiteY57"/>
            </a:cxn>
            <a:cxn ang="0">
              <a:pos x="connsiteX58" y="connsiteY58"/>
            </a:cxn>
            <a:cxn ang="0">
              <a:pos x="connsiteX59" y="connsiteY59"/>
            </a:cxn>
            <a:cxn ang="0">
              <a:pos x="connsiteX60" y="connsiteY60"/>
            </a:cxn>
            <a:cxn ang="0">
              <a:pos x="connsiteX61" y="connsiteY61"/>
            </a:cxn>
            <a:cxn ang="0">
              <a:pos x="connsiteX62" y="connsiteY62"/>
            </a:cxn>
            <a:cxn ang="0">
              <a:pos x="connsiteX63" y="connsiteY63"/>
            </a:cxn>
            <a:cxn ang="0">
              <a:pos x="connsiteX64" y="connsiteY64"/>
            </a:cxn>
            <a:cxn ang="0">
              <a:pos x="connsiteX65" y="connsiteY65"/>
            </a:cxn>
            <a:cxn ang="0">
              <a:pos x="connsiteX66" y="connsiteY66"/>
            </a:cxn>
            <a:cxn ang="0">
              <a:pos x="connsiteX67" y="connsiteY67"/>
            </a:cxn>
            <a:cxn ang="0">
              <a:pos x="connsiteX68" y="connsiteY68"/>
            </a:cxn>
            <a:cxn ang="0">
              <a:pos x="connsiteX69" y="connsiteY69"/>
            </a:cxn>
            <a:cxn ang="0">
              <a:pos x="connsiteX70" y="connsiteY70"/>
            </a:cxn>
            <a:cxn ang="0">
              <a:pos x="connsiteX71" y="connsiteY71"/>
            </a:cxn>
            <a:cxn ang="0">
              <a:pos x="connsiteX72" y="connsiteY72"/>
            </a:cxn>
            <a:cxn ang="0">
              <a:pos x="connsiteX73" y="connsiteY73"/>
            </a:cxn>
            <a:cxn ang="0">
              <a:pos x="connsiteX74" y="connsiteY74"/>
            </a:cxn>
            <a:cxn ang="0">
              <a:pos x="connsiteX75" y="connsiteY75"/>
            </a:cxn>
            <a:cxn ang="0">
              <a:pos x="connsiteX76" y="connsiteY76"/>
            </a:cxn>
            <a:cxn ang="0">
              <a:pos x="connsiteX77" y="connsiteY77"/>
            </a:cxn>
            <a:cxn ang="0">
              <a:pos x="connsiteX78" y="connsiteY78"/>
            </a:cxn>
            <a:cxn ang="0">
              <a:pos x="connsiteX79" y="connsiteY79"/>
            </a:cxn>
            <a:cxn ang="0">
              <a:pos x="connsiteX80" y="connsiteY80"/>
            </a:cxn>
            <a:cxn ang="0">
              <a:pos x="connsiteX81" y="connsiteY81"/>
            </a:cxn>
            <a:cxn ang="0">
              <a:pos x="connsiteX82" y="connsiteY82"/>
            </a:cxn>
            <a:cxn ang="0">
              <a:pos x="connsiteX83" y="connsiteY83"/>
            </a:cxn>
          </a:cxnLst>
          <a:rect l="l" t="t" r="r" b="b"/>
          <a:pathLst>
            <a:path w="4359348" h="1968353">
              <a:moveTo>
                <a:pt x="0" y="0"/>
              </a:moveTo>
              <a:cubicBezTo>
                <a:pt x="21265" y="3544"/>
                <a:pt x="42655" y="6405"/>
                <a:pt x="63795" y="10633"/>
              </a:cubicBezTo>
              <a:cubicBezTo>
                <a:pt x="119209" y="21716"/>
                <a:pt x="90920" y="18383"/>
                <a:pt x="138223" y="31898"/>
              </a:cubicBezTo>
              <a:cubicBezTo>
                <a:pt x="152274" y="35912"/>
                <a:pt x="166756" y="38331"/>
                <a:pt x="180753" y="42530"/>
              </a:cubicBezTo>
              <a:cubicBezTo>
                <a:pt x="202223" y="48971"/>
                <a:pt x="223283" y="56708"/>
                <a:pt x="244548" y="63796"/>
              </a:cubicBezTo>
              <a:lnTo>
                <a:pt x="276446" y="74428"/>
              </a:lnTo>
              <a:cubicBezTo>
                <a:pt x="326995" y="108127"/>
                <a:pt x="296220" y="91651"/>
                <a:pt x="372139" y="116958"/>
              </a:cubicBezTo>
              <a:cubicBezTo>
                <a:pt x="382772" y="120502"/>
                <a:pt x="394712" y="121374"/>
                <a:pt x="404037" y="127591"/>
              </a:cubicBezTo>
              <a:cubicBezTo>
                <a:pt x="414669" y="134679"/>
                <a:pt x="424257" y="143666"/>
                <a:pt x="435934" y="148856"/>
              </a:cubicBezTo>
              <a:cubicBezTo>
                <a:pt x="456418" y="157960"/>
                <a:pt x="478465" y="163032"/>
                <a:pt x="499730" y="170121"/>
              </a:cubicBezTo>
              <a:lnTo>
                <a:pt x="531627" y="180754"/>
              </a:lnTo>
              <a:lnTo>
                <a:pt x="563525" y="191386"/>
              </a:lnTo>
              <a:cubicBezTo>
                <a:pt x="570613" y="202019"/>
                <a:pt x="574157" y="216196"/>
                <a:pt x="584790" y="223284"/>
              </a:cubicBezTo>
              <a:cubicBezTo>
                <a:pt x="596949" y="231390"/>
                <a:pt x="613323" y="229717"/>
                <a:pt x="627320" y="233916"/>
              </a:cubicBezTo>
              <a:cubicBezTo>
                <a:pt x="648790" y="240357"/>
                <a:pt x="672465" y="242748"/>
                <a:pt x="691116" y="255182"/>
              </a:cubicBezTo>
              <a:cubicBezTo>
                <a:pt x="701748" y="262270"/>
                <a:pt x="711336" y="271257"/>
                <a:pt x="723013" y="276447"/>
              </a:cubicBezTo>
              <a:cubicBezTo>
                <a:pt x="743497" y="285551"/>
                <a:pt x="765544" y="290624"/>
                <a:pt x="786809" y="297712"/>
              </a:cubicBezTo>
              <a:lnTo>
                <a:pt x="818707" y="308344"/>
              </a:lnTo>
              <a:cubicBezTo>
                <a:pt x="829339" y="315432"/>
                <a:pt x="839175" y="323894"/>
                <a:pt x="850604" y="329609"/>
              </a:cubicBezTo>
              <a:cubicBezTo>
                <a:pt x="860629" y="334621"/>
                <a:pt x="872705" y="334799"/>
                <a:pt x="882502" y="340242"/>
              </a:cubicBezTo>
              <a:cubicBezTo>
                <a:pt x="904843" y="352654"/>
                <a:pt x="925032" y="368595"/>
                <a:pt x="946297" y="382772"/>
              </a:cubicBezTo>
              <a:lnTo>
                <a:pt x="978195" y="404037"/>
              </a:lnTo>
              <a:cubicBezTo>
                <a:pt x="990914" y="412516"/>
                <a:pt x="1043110" y="429220"/>
                <a:pt x="1063255" y="435935"/>
              </a:cubicBezTo>
              <a:lnTo>
                <a:pt x="1127051" y="478465"/>
              </a:lnTo>
              <a:cubicBezTo>
                <a:pt x="1137684" y="485553"/>
                <a:pt x="1137480" y="503590"/>
                <a:pt x="1148316" y="510363"/>
              </a:cubicBezTo>
              <a:cubicBezTo>
                <a:pt x="1167324" y="522243"/>
                <a:pt x="1212111" y="531628"/>
                <a:pt x="1212111" y="531628"/>
              </a:cubicBezTo>
              <a:cubicBezTo>
                <a:pt x="1219199" y="542261"/>
                <a:pt x="1223759" y="555111"/>
                <a:pt x="1233376" y="563526"/>
              </a:cubicBezTo>
              <a:cubicBezTo>
                <a:pt x="1278372" y="602897"/>
                <a:pt x="1285260" y="602085"/>
                <a:pt x="1329069" y="616689"/>
              </a:cubicBezTo>
              <a:cubicBezTo>
                <a:pt x="1362768" y="667237"/>
                <a:pt x="1338211" y="644544"/>
                <a:pt x="1414130" y="669851"/>
              </a:cubicBezTo>
              <a:lnTo>
                <a:pt x="1446027" y="680484"/>
              </a:lnTo>
              <a:cubicBezTo>
                <a:pt x="1453116" y="687572"/>
                <a:pt x="1459273" y="695734"/>
                <a:pt x="1467293" y="701749"/>
              </a:cubicBezTo>
              <a:cubicBezTo>
                <a:pt x="1487739" y="717083"/>
                <a:pt x="1531088" y="744279"/>
                <a:pt x="1531088" y="744279"/>
              </a:cubicBezTo>
              <a:cubicBezTo>
                <a:pt x="1538176" y="754912"/>
                <a:pt x="1543804" y="766679"/>
                <a:pt x="1552353" y="776177"/>
              </a:cubicBezTo>
              <a:cubicBezTo>
                <a:pt x="1575824" y="802256"/>
                <a:pt x="1607319" y="821412"/>
                <a:pt x="1626781" y="850605"/>
              </a:cubicBezTo>
              <a:cubicBezTo>
                <a:pt x="1633869" y="861238"/>
                <a:pt x="1639010" y="873467"/>
                <a:pt x="1648046" y="882503"/>
              </a:cubicBezTo>
              <a:cubicBezTo>
                <a:pt x="1731689" y="966146"/>
                <a:pt x="1624742" y="831148"/>
                <a:pt x="1711841" y="935665"/>
              </a:cubicBezTo>
              <a:cubicBezTo>
                <a:pt x="1720022" y="945482"/>
                <a:pt x="1725679" y="957164"/>
                <a:pt x="1733107" y="967563"/>
              </a:cubicBezTo>
              <a:cubicBezTo>
                <a:pt x="1743407" y="981983"/>
                <a:pt x="1754704" y="995673"/>
                <a:pt x="1765004" y="1010093"/>
              </a:cubicBezTo>
              <a:cubicBezTo>
                <a:pt x="1772431" y="1020492"/>
                <a:pt x="1778088" y="1032174"/>
                <a:pt x="1786269" y="1041991"/>
              </a:cubicBezTo>
              <a:cubicBezTo>
                <a:pt x="1795895" y="1053543"/>
                <a:pt x="1807534" y="1063256"/>
                <a:pt x="1818167" y="1073889"/>
              </a:cubicBezTo>
              <a:cubicBezTo>
                <a:pt x="1838502" y="1134891"/>
                <a:pt x="1814238" y="1077950"/>
                <a:pt x="1860697" y="1137684"/>
              </a:cubicBezTo>
              <a:cubicBezTo>
                <a:pt x="1920411" y="1214460"/>
                <a:pt x="1874172" y="1191794"/>
                <a:pt x="1935125" y="1212112"/>
              </a:cubicBezTo>
              <a:cubicBezTo>
                <a:pt x="1942636" y="1223379"/>
                <a:pt x="1962506" y="1257701"/>
                <a:pt x="1977655" y="1265275"/>
              </a:cubicBezTo>
              <a:cubicBezTo>
                <a:pt x="1997704" y="1275300"/>
                <a:pt x="2020186" y="1279452"/>
                <a:pt x="2041451" y="1286540"/>
              </a:cubicBezTo>
              <a:lnTo>
                <a:pt x="2105246" y="1307805"/>
              </a:lnTo>
              <a:cubicBezTo>
                <a:pt x="2115879" y="1311349"/>
                <a:pt x="2126089" y="1316594"/>
                <a:pt x="2137144" y="1318437"/>
              </a:cubicBezTo>
              <a:cubicBezTo>
                <a:pt x="2158409" y="1321981"/>
                <a:pt x="2179894" y="1324393"/>
                <a:pt x="2200939" y="1329070"/>
              </a:cubicBezTo>
              <a:cubicBezTo>
                <a:pt x="2211880" y="1331501"/>
                <a:pt x="2222102" y="1336482"/>
                <a:pt x="2232837" y="1339703"/>
              </a:cubicBezTo>
              <a:cubicBezTo>
                <a:pt x="2311524" y="1363309"/>
                <a:pt x="2291151" y="1357745"/>
                <a:pt x="2360427" y="1371600"/>
              </a:cubicBezTo>
              <a:cubicBezTo>
                <a:pt x="2425068" y="1414694"/>
                <a:pt x="2356388" y="1374073"/>
                <a:pt x="2434855" y="1403498"/>
              </a:cubicBezTo>
              <a:cubicBezTo>
                <a:pt x="2449696" y="1409063"/>
                <a:pt x="2462817" y="1418519"/>
                <a:pt x="2477386" y="1424763"/>
              </a:cubicBezTo>
              <a:cubicBezTo>
                <a:pt x="2487687" y="1429178"/>
                <a:pt x="2499259" y="1430384"/>
                <a:pt x="2509283" y="1435396"/>
              </a:cubicBezTo>
              <a:cubicBezTo>
                <a:pt x="2520713" y="1441111"/>
                <a:pt x="2529435" y="1451627"/>
                <a:pt x="2541181" y="1456661"/>
              </a:cubicBezTo>
              <a:cubicBezTo>
                <a:pt x="2554612" y="1462417"/>
                <a:pt x="2569534" y="1463749"/>
                <a:pt x="2583711" y="1467293"/>
              </a:cubicBezTo>
              <a:cubicBezTo>
                <a:pt x="2597888" y="1474381"/>
                <a:pt x="2611400" y="1482993"/>
                <a:pt x="2626241" y="1488558"/>
              </a:cubicBezTo>
              <a:cubicBezTo>
                <a:pt x="2639924" y="1493689"/>
                <a:pt x="2654721" y="1495176"/>
                <a:pt x="2668772" y="1499191"/>
              </a:cubicBezTo>
              <a:cubicBezTo>
                <a:pt x="2679548" y="1502270"/>
                <a:pt x="2690037" y="1506279"/>
                <a:pt x="2700669" y="1509823"/>
              </a:cubicBezTo>
              <a:cubicBezTo>
                <a:pt x="2780747" y="1563210"/>
                <a:pt x="2678979" y="1500528"/>
                <a:pt x="2775097" y="1541721"/>
              </a:cubicBezTo>
              <a:cubicBezTo>
                <a:pt x="2786843" y="1546755"/>
                <a:pt x="2795318" y="1557796"/>
                <a:pt x="2806995" y="1562986"/>
              </a:cubicBezTo>
              <a:cubicBezTo>
                <a:pt x="2827478" y="1572090"/>
                <a:pt x="2849525" y="1577163"/>
                <a:pt x="2870790" y="1584251"/>
              </a:cubicBezTo>
              <a:cubicBezTo>
                <a:pt x="2881423" y="1587795"/>
                <a:pt x="2891567" y="1593494"/>
                <a:pt x="2902688" y="1594884"/>
              </a:cubicBezTo>
              <a:cubicBezTo>
                <a:pt x="3019594" y="1609497"/>
                <a:pt x="2959349" y="1602360"/>
                <a:pt x="3083441" y="1616149"/>
              </a:cubicBezTo>
              <a:cubicBezTo>
                <a:pt x="3097618" y="1619693"/>
                <a:pt x="3112540" y="1621025"/>
                <a:pt x="3125972" y="1626782"/>
              </a:cubicBezTo>
              <a:cubicBezTo>
                <a:pt x="3137717" y="1631816"/>
                <a:pt x="3145904" y="1643560"/>
                <a:pt x="3157869" y="1648047"/>
              </a:cubicBezTo>
              <a:cubicBezTo>
                <a:pt x="3174790" y="1654392"/>
                <a:pt x="3193311" y="1655135"/>
                <a:pt x="3211032" y="1658679"/>
              </a:cubicBezTo>
              <a:cubicBezTo>
                <a:pt x="3225209" y="1665767"/>
                <a:pt x="3238994" y="1673700"/>
                <a:pt x="3253562" y="1679944"/>
              </a:cubicBezTo>
              <a:cubicBezTo>
                <a:pt x="3263864" y="1684359"/>
                <a:pt x="3275435" y="1685565"/>
                <a:pt x="3285460" y="1690577"/>
              </a:cubicBezTo>
              <a:cubicBezTo>
                <a:pt x="3296890" y="1696292"/>
                <a:pt x="3305612" y="1706808"/>
                <a:pt x="3317358" y="1711842"/>
              </a:cubicBezTo>
              <a:cubicBezTo>
                <a:pt x="3330789" y="1717598"/>
                <a:pt x="3346205" y="1717344"/>
                <a:pt x="3359888" y="1722475"/>
              </a:cubicBezTo>
              <a:cubicBezTo>
                <a:pt x="3374729" y="1728040"/>
                <a:pt x="3387850" y="1737496"/>
                <a:pt x="3402418" y="1743740"/>
              </a:cubicBezTo>
              <a:cubicBezTo>
                <a:pt x="3412720" y="1748155"/>
                <a:pt x="3424014" y="1749957"/>
                <a:pt x="3434316" y="1754372"/>
              </a:cubicBezTo>
              <a:cubicBezTo>
                <a:pt x="3512162" y="1787734"/>
                <a:pt x="3440960" y="1766665"/>
                <a:pt x="3519376" y="1786270"/>
              </a:cubicBezTo>
              <a:cubicBezTo>
                <a:pt x="3530009" y="1793358"/>
                <a:pt x="3539844" y="1801820"/>
                <a:pt x="3551274" y="1807535"/>
              </a:cubicBezTo>
              <a:cubicBezTo>
                <a:pt x="3568274" y="1816035"/>
                <a:pt x="3609798" y="1824256"/>
                <a:pt x="3625702" y="1828800"/>
              </a:cubicBezTo>
              <a:cubicBezTo>
                <a:pt x="3636479" y="1831879"/>
                <a:pt x="3647575" y="1834421"/>
                <a:pt x="3657600" y="1839433"/>
              </a:cubicBezTo>
              <a:cubicBezTo>
                <a:pt x="3692649" y="1856958"/>
                <a:pt x="3682789" y="1865391"/>
                <a:pt x="3721395" y="1871330"/>
              </a:cubicBezTo>
              <a:cubicBezTo>
                <a:pt x="3934370" y="1904095"/>
                <a:pt x="3729628" y="1862071"/>
                <a:pt x="3912781" y="1892596"/>
              </a:cubicBezTo>
              <a:cubicBezTo>
                <a:pt x="3927195" y="1894998"/>
                <a:pt x="3941046" y="1900058"/>
                <a:pt x="3955311" y="1903228"/>
              </a:cubicBezTo>
              <a:cubicBezTo>
                <a:pt x="3972953" y="1907148"/>
                <a:pt x="3990942" y="1909478"/>
                <a:pt x="4008474" y="1913861"/>
              </a:cubicBezTo>
              <a:cubicBezTo>
                <a:pt x="4019347" y="1916579"/>
                <a:pt x="4029499" y="1921775"/>
                <a:pt x="4040372" y="1924493"/>
              </a:cubicBezTo>
              <a:cubicBezTo>
                <a:pt x="4057904" y="1928876"/>
                <a:pt x="4075893" y="1931206"/>
                <a:pt x="4093534" y="1935126"/>
              </a:cubicBezTo>
              <a:cubicBezTo>
                <a:pt x="4107799" y="1938296"/>
                <a:pt x="4121622" y="1943536"/>
                <a:pt x="4136065" y="1945758"/>
              </a:cubicBezTo>
              <a:cubicBezTo>
                <a:pt x="4167786" y="1950638"/>
                <a:pt x="4199860" y="1952847"/>
                <a:pt x="4231758" y="1956391"/>
              </a:cubicBezTo>
              <a:cubicBezTo>
                <a:pt x="4301795" y="1973899"/>
                <a:pt x="4259675" y="1967023"/>
                <a:pt x="4359348" y="1967023"/>
              </a:cubicBezTo>
            </a:path>
          </a:pathLst>
        </a:custGeom>
        <a:noFill xmlns:a="http://schemas.openxmlformats.org/drawingml/2006/main"/>
        <a:ln xmlns:a="http://schemas.openxmlformats.org/drawingml/2006/main" w="9525" cap="flat" cmpd="sng" algn="ctr">
          <a:noFill/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Overflow="clip" vert="horz" wrap="square" lIns="91440" tIns="45720" rIns="91440" bIns="45720" numCol="1" rtlCol="0" anchor="t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44196</cdr:x>
      <cdr:y>0.82452</cdr:y>
    </cdr:from>
    <cdr:to>
      <cdr:x>0.61214</cdr:x>
      <cdr:y>0.95451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1966292" y="1952339"/>
          <a:ext cx="757170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sz="2000" kern="1200">
              <a:solidFill>
                <a:srgbClr val="000000"/>
              </a:solidFill>
              <a:latin typeface="Arial" charset="0"/>
              <a:ea typeface="+mn-ea"/>
              <a:cs typeface="+mn-cs"/>
            </a:defRPr>
          </a:lvl1pPr>
          <a:lvl2pPr marL="455613" indent="1588" algn="l" rtl="0" fontAlgn="base">
            <a:spcBef>
              <a:spcPct val="0"/>
            </a:spcBef>
            <a:spcAft>
              <a:spcPct val="0"/>
            </a:spcAft>
            <a:defRPr sz="2000" kern="1200">
              <a:solidFill>
                <a:srgbClr val="000000"/>
              </a:solidFill>
              <a:latin typeface="Arial" charset="0"/>
              <a:ea typeface="+mn-ea"/>
              <a:cs typeface="+mn-cs"/>
            </a:defRPr>
          </a:lvl2pPr>
          <a:lvl3pPr marL="912813" indent="1588" algn="l" rtl="0" fontAlgn="base">
            <a:spcBef>
              <a:spcPct val="0"/>
            </a:spcBef>
            <a:spcAft>
              <a:spcPct val="0"/>
            </a:spcAft>
            <a:defRPr sz="2000" kern="1200">
              <a:solidFill>
                <a:srgbClr val="000000"/>
              </a:solidFill>
              <a:latin typeface="Arial" charset="0"/>
              <a:ea typeface="+mn-ea"/>
              <a:cs typeface="+mn-cs"/>
            </a:defRPr>
          </a:lvl3pPr>
          <a:lvl4pPr marL="1370013" indent="1588" algn="l" rtl="0" fontAlgn="base">
            <a:spcBef>
              <a:spcPct val="0"/>
            </a:spcBef>
            <a:spcAft>
              <a:spcPct val="0"/>
            </a:spcAft>
            <a:defRPr sz="2000" kern="1200">
              <a:solidFill>
                <a:srgbClr val="000000"/>
              </a:solidFill>
              <a:latin typeface="Arial" charset="0"/>
              <a:ea typeface="+mn-ea"/>
              <a:cs typeface="+mn-cs"/>
            </a:defRPr>
          </a:lvl4pPr>
          <a:lvl5pPr marL="1827213" indent="1588" algn="l" rtl="0" fontAlgn="base">
            <a:spcBef>
              <a:spcPct val="0"/>
            </a:spcBef>
            <a:spcAft>
              <a:spcPct val="0"/>
            </a:spcAft>
            <a:defRPr sz="2000" kern="1200">
              <a:solidFill>
                <a:srgbClr val="000000"/>
              </a:solidFill>
              <a:latin typeface="Arial" charset="0"/>
              <a:ea typeface="+mn-ea"/>
              <a:cs typeface="+mn-cs"/>
            </a:defRPr>
          </a:lvl5pPr>
          <a:lvl6pPr marL="2286000" algn="l" defTabSz="914400" rtl="0" eaLnBrk="1" latinLnBrk="0" hangingPunct="1">
            <a:defRPr sz="2000" kern="1200">
              <a:solidFill>
                <a:srgbClr val="000000"/>
              </a:solidFill>
              <a:latin typeface="Arial" charset="0"/>
              <a:ea typeface="+mn-ea"/>
              <a:cs typeface="+mn-cs"/>
            </a:defRPr>
          </a:lvl6pPr>
          <a:lvl7pPr marL="2743200" algn="l" defTabSz="914400" rtl="0" eaLnBrk="1" latinLnBrk="0" hangingPunct="1">
            <a:defRPr sz="2000" kern="1200">
              <a:solidFill>
                <a:srgbClr val="000000"/>
              </a:solidFill>
              <a:latin typeface="Arial" charset="0"/>
              <a:ea typeface="+mn-ea"/>
              <a:cs typeface="+mn-cs"/>
            </a:defRPr>
          </a:lvl7pPr>
          <a:lvl8pPr marL="3200400" algn="l" defTabSz="914400" rtl="0" eaLnBrk="1" latinLnBrk="0" hangingPunct="1">
            <a:defRPr sz="2000" kern="1200">
              <a:solidFill>
                <a:srgbClr val="000000"/>
              </a:solidFill>
              <a:latin typeface="Arial" charset="0"/>
              <a:ea typeface="+mn-ea"/>
              <a:cs typeface="+mn-cs"/>
            </a:defRPr>
          </a:lvl8pPr>
          <a:lvl9pPr marL="3657600" algn="l" defTabSz="914400" rtl="0" eaLnBrk="1" latinLnBrk="0" hangingPunct="1">
            <a:defRPr sz="2000" kern="1200">
              <a:solidFill>
                <a:srgbClr val="000000"/>
              </a:solidFill>
              <a:latin typeface="Arial" charset="0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dirty="0" smtClean="0">
              <a:solidFill>
                <a:schemeClr val="bg1"/>
              </a:solidFill>
            </a:rPr>
            <a:t>2012</a:t>
          </a:r>
          <a:endParaRPr lang="en-US" sz="1400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71622</cdr:x>
      <cdr:y>0.87002</cdr:y>
    </cdr:from>
    <cdr:to>
      <cdr:x>0.86839</cdr:x>
      <cdr:y>1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3186523" y="2060061"/>
          <a:ext cx="676969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dirty="0" smtClean="0">
              <a:solidFill>
                <a:schemeClr val="bg1"/>
              </a:solidFill>
            </a:rPr>
            <a:t>2013</a:t>
          </a:r>
          <a:endParaRPr lang="en-US" sz="1400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1749</cdr:x>
      <cdr:y>0.78511</cdr:y>
    </cdr:from>
    <cdr:to>
      <cdr:x>0.32169</cdr:x>
      <cdr:y>0.9151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765895" y="2379194"/>
          <a:ext cx="642816" cy="393896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dirty="0" smtClean="0">
              <a:solidFill>
                <a:schemeClr val="bg1"/>
              </a:solidFill>
            </a:rPr>
            <a:t>2011</a:t>
          </a:r>
          <a:endParaRPr lang="en-US" sz="1400" dirty="0">
            <a:solidFill>
              <a:schemeClr val="bg1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317</cdr:x>
      <cdr:y>0.77757</cdr:y>
    </cdr:from>
    <cdr:to>
      <cdr:x>1</cdr:x>
      <cdr:y>0.96915</cdr:y>
    </cdr:to>
    <cdr:grpSp>
      <cdr:nvGrpSpPr>
        <cdr:cNvPr id="7" name="Group 6"/>
        <cdr:cNvGrpSpPr/>
      </cdr:nvGrpSpPr>
      <cdr:grpSpPr>
        <a:xfrm xmlns:a="http://schemas.openxmlformats.org/drawingml/2006/main">
          <a:off x="627338" y="1972103"/>
          <a:ext cx="4136049" cy="485892"/>
          <a:chOff x="627338" y="1972103"/>
          <a:chExt cx="4136049" cy="485892"/>
        </a:xfrm>
      </cdr:grpSpPr>
      <cdr:sp macro="" textlink="">
        <cdr:nvSpPr>
          <cdr:cNvPr id="2" name="TextBox 3"/>
          <cdr:cNvSpPr txBox="1"/>
        </cdr:nvSpPr>
        <cdr:spPr>
          <a:xfrm xmlns:a="http://schemas.openxmlformats.org/drawingml/2006/main">
            <a:off x="1520473" y="2051335"/>
            <a:ext cx="890039" cy="261613"/>
          </a:xfrm>
          <a:prstGeom xmlns:a="http://schemas.openxmlformats.org/drawingml/2006/main" prst="rect">
            <a:avLst/>
          </a:prstGeom>
          <a:noFill xmlns:a="http://schemas.openxmlformats.org/drawingml/2006/main"/>
        </cdr:spPr>
        <cdr:txBody>
          <a:bodyPr xmlns:a="http://schemas.openxmlformats.org/drawingml/2006/main" wrap="square" rtlCol="0">
            <a:spAutoFit/>
          </a:bodyPr>
          <a:lstStyle xmlns:a="http://schemas.openxmlformats.org/drawingml/2006/main"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5613" indent="1588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2813" indent="1588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0013" indent="1588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7213" indent="1588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 xmlns:a="http://schemas.openxmlformats.org/drawingml/2006/main">
            <a:r>
              <a:rPr lang="en-US" sz="1100" b="1" dirty="0" smtClean="0"/>
              <a:t>Canteen</a:t>
            </a:r>
            <a:endParaRPr lang="en-US" sz="1100" b="1" dirty="0"/>
          </a:p>
        </cdr:txBody>
      </cdr:sp>
      <cdr:sp macro="" textlink="">
        <cdr:nvSpPr>
          <cdr:cNvPr id="3" name="TextBox 48"/>
          <cdr:cNvSpPr txBox="1"/>
        </cdr:nvSpPr>
        <cdr:spPr>
          <a:xfrm xmlns:a="http://schemas.openxmlformats.org/drawingml/2006/main">
            <a:off x="3759646" y="1972103"/>
            <a:ext cx="1003741" cy="485892"/>
          </a:xfrm>
          <a:prstGeom xmlns:a="http://schemas.openxmlformats.org/drawingml/2006/main" prst="rect">
            <a:avLst/>
          </a:prstGeom>
          <a:noFill xmlns:a="http://schemas.openxmlformats.org/drawingml/2006/main"/>
        </cdr:spPr>
        <cdr:txBody>
          <a:bodyPr xmlns:a="http://schemas.openxmlformats.org/drawingml/2006/main" wrap="square" rtlCol="0">
            <a:spAutoFit/>
          </a:bodyPr>
          <a:lstStyle xmlns:a="http://schemas.openxmlformats.org/drawingml/2006/main"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5613" indent="1588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2813" indent="1588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0013" indent="1588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7213" indent="1588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 xmlns:a="http://schemas.openxmlformats.org/drawingml/2006/main">
            <a:r>
              <a:rPr lang="en-US" sz="1100" b="1" dirty="0" smtClean="0"/>
              <a:t>Chilled Water</a:t>
            </a:r>
            <a:endParaRPr lang="en-US" sz="1100" b="1" dirty="0"/>
          </a:p>
        </cdr:txBody>
      </cdr:sp>
      <cdr:sp macro="" textlink="">
        <cdr:nvSpPr>
          <cdr:cNvPr id="4" name="TextBox 49"/>
          <cdr:cNvSpPr txBox="1"/>
        </cdr:nvSpPr>
        <cdr:spPr>
          <a:xfrm xmlns:a="http://schemas.openxmlformats.org/drawingml/2006/main">
            <a:off x="2940153" y="2047302"/>
            <a:ext cx="1003741" cy="294990"/>
          </a:xfrm>
          <a:prstGeom xmlns:a="http://schemas.openxmlformats.org/drawingml/2006/main" prst="rect">
            <a:avLst/>
          </a:prstGeom>
          <a:noFill xmlns:a="http://schemas.openxmlformats.org/drawingml/2006/main"/>
        </cdr:spPr>
        <cdr:txBody>
          <a:bodyPr xmlns:a="http://schemas.openxmlformats.org/drawingml/2006/main" wrap="square" rtlCol="0">
            <a:spAutoFit/>
          </a:bodyPr>
          <a:lstStyle xmlns:a="http://schemas.openxmlformats.org/drawingml/2006/main"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5613" indent="1588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2813" indent="1588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0013" indent="1588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7213" indent="1588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 xmlns:a="http://schemas.openxmlformats.org/drawingml/2006/main">
            <a:r>
              <a:rPr lang="en-US" sz="1100" b="1" dirty="0" smtClean="0"/>
              <a:t>Sprinkler</a:t>
            </a:r>
            <a:endParaRPr lang="en-US" sz="1100" b="1" dirty="0"/>
          </a:p>
        </cdr:txBody>
      </cdr:sp>
      <cdr:sp macro="" textlink="">
        <cdr:nvSpPr>
          <cdr:cNvPr id="5" name="TextBox 50"/>
          <cdr:cNvSpPr txBox="1"/>
        </cdr:nvSpPr>
        <cdr:spPr>
          <a:xfrm xmlns:a="http://schemas.openxmlformats.org/drawingml/2006/main">
            <a:off x="627338" y="2025313"/>
            <a:ext cx="1040276" cy="261613"/>
          </a:xfrm>
          <a:prstGeom xmlns:a="http://schemas.openxmlformats.org/drawingml/2006/main" prst="rect">
            <a:avLst/>
          </a:prstGeom>
          <a:noFill xmlns:a="http://schemas.openxmlformats.org/drawingml/2006/main"/>
        </cdr:spPr>
        <cdr:txBody>
          <a:bodyPr xmlns:a="http://schemas.openxmlformats.org/drawingml/2006/main" wrap="square" rtlCol="0">
            <a:spAutoFit/>
          </a:bodyPr>
          <a:lstStyle xmlns:a="http://schemas.openxmlformats.org/drawingml/2006/main"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5613" indent="1588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2813" indent="1588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0013" indent="1588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7213" indent="1588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 xmlns:a="http://schemas.openxmlformats.org/drawingml/2006/main">
            <a:pPr algn="ctr"/>
            <a:r>
              <a:rPr lang="en-US" sz="1100" b="1" dirty="0" smtClean="0"/>
              <a:t>Washroom</a:t>
            </a:r>
            <a:endParaRPr lang="en-US" sz="1100" b="1" dirty="0"/>
          </a:p>
        </cdr:txBody>
      </cdr:sp>
      <cdr:sp macro="" textlink="">
        <cdr:nvSpPr>
          <cdr:cNvPr id="6" name="TextBox 51"/>
          <cdr:cNvSpPr txBox="1"/>
        </cdr:nvSpPr>
        <cdr:spPr>
          <a:xfrm xmlns:a="http://schemas.openxmlformats.org/drawingml/2006/main">
            <a:off x="2094604" y="2041722"/>
            <a:ext cx="1044516" cy="261613"/>
          </a:xfrm>
          <a:prstGeom xmlns:a="http://schemas.openxmlformats.org/drawingml/2006/main" prst="rect">
            <a:avLst/>
          </a:prstGeom>
          <a:noFill xmlns:a="http://schemas.openxmlformats.org/drawingml/2006/main"/>
        </cdr:spPr>
        <cdr:txBody>
          <a:bodyPr xmlns:a="http://schemas.openxmlformats.org/drawingml/2006/main" wrap="square" rtlCol="0">
            <a:spAutoFit/>
          </a:bodyPr>
          <a:lstStyle xmlns:a="http://schemas.openxmlformats.org/drawingml/2006/main"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5613" indent="1588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2813" indent="1588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0013" indent="1588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7213" indent="1588" algn="l" rtl="0" fontAlgn="base">
              <a:spcBef>
                <a:spcPct val="0"/>
              </a:spcBef>
              <a:spcAft>
                <a:spcPct val="0"/>
              </a:spcAft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2000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 xmlns:a="http://schemas.openxmlformats.org/drawingml/2006/main">
            <a:pPr algn="ctr"/>
            <a:r>
              <a:rPr lang="en-US" sz="1100" b="1" dirty="0" smtClean="0"/>
              <a:t>Gardening</a:t>
            </a:r>
            <a:endParaRPr lang="en-US" sz="1100" b="1" dirty="0"/>
          </a:p>
        </cdr:txBody>
      </cdr:sp>
    </cdr:grp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19814</cdr:x>
      <cdr:y>0.07349</cdr:y>
    </cdr:from>
    <cdr:to>
      <cdr:x>0.77797</cdr:x>
      <cdr:y>0.51958</cdr:y>
    </cdr:to>
    <cdr:sp macro="" textlink="">
      <cdr:nvSpPr>
        <cdr:cNvPr id="2" name="Freeform 1"/>
        <cdr:cNvSpPr/>
      </cdr:nvSpPr>
      <cdr:spPr bwMode="auto">
        <a:xfrm xmlns:a="http://schemas.openxmlformats.org/drawingml/2006/main">
          <a:off x="1489679" y="324288"/>
          <a:ext cx="4359348" cy="1968353"/>
        </a:xfrm>
        <a:custGeom xmlns:a="http://schemas.openxmlformats.org/drawingml/2006/main">
          <a:avLst/>
          <a:gdLst>
            <a:gd name="connsiteX0" fmla="*/ 0 w 4359348"/>
            <a:gd name="connsiteY0" fmla="*/ 0 h 1968353"/>
            <a:gd name="connsiteX1" fmla="*/ 63795 w 4359348"/>
            <a:gd name="connsiteY1" fmla="*/ 10633 h 1968353"/>
            <a:gd name="connsiteX2" fmla="*/ 138223 w 4359348"/>
            <a:gd name="connsiteY2" fmla="*/ 31898 h 1968353"/>
            <a:gd name="connsiteX3" fmla="*/ 180753 w 4359348"/>
            <a:gd name="connsiteY3" fmla="*/ 42530 h 1968353"/>
            <a:gd name="connsiteX4" fmla="*/ 244548 w 4359348"/>
            <a:gd name="connsiteY4" fmla="*/ 63796 h 1968353"/>
            <a:gd name="connsiteX5" fmla="*/ 276446 w 4359348"/>
            <a:gd name="connsiteY5" fmla="*/ 74428 h 1968353"/>
            <a:gd name="connsiteX6" fmla="*/ 372139 w 4359348"/>
            <a:gd name="connsiteY6" fmla="*/ 116958 h 1968353"/>
            <a:gd name="connsiteX7" fmla="*/ 404037 w 4359348"/>
            <a:gd name="connsiteY7" fmla="*/ 127591 h 1968353"/>
            <a:gd name="connsiteX8" fmla="*/ 435934 w 4359348"/>
            <a:gd name="connsiteY8" fmla="*/ 148856 h 1968353"/>
            <a:gd name="connsiteX9" fmla="*/ 499730 w 4359348"/>
            <a:gd name="connsiteY9" fmla="*/ 170121 h 1968353"/>
            <a:gd name="connsiteX10" fmla="*/ 531627 w 4359348"/>
            <a:gd name="connsiteY10" fmla="*/ 180754 h 1968353"/>
            <a:gd name="connsiteX11" fmla="*/ 563525 w 4359348"/>
            <a:gd name="connsiteY11" fmla="*/ 191386 h 1968353"/>
            <a:gd name="connsiteX12" fmla="*/ 584790 w 4359348"/>
            <a:gd name="connsiteY12" fmla="*/ 223284 h 1968353"/>
            <a:gd name="connsiteX13" fmla="*/ 627320 w 4359348"/>
            <a:gd name="connsiteY13" fmla="*/ 233916 h 1968353"/>
            <a:gd name="connsiteX14" fmla="*/ 691116 w 4359348"/>
            <a:gd name="connsiteY14" fmla="*/ 255182 h 1968353"/>
            <a:gd name="connsiteX15" fmla="*/ 723013 w 4359348"/>
            <a:gd name="connsiteY15" fmla="*/ 276447 h 1968353"/>
            <a:gd name="connsiteX16" fmla="*/ 786809 w 4359348"/>
            <a:gd name="connsiteY16" fmla="*/ 297712 h 1968353"/>
            <a:gd name="connsiteX17" fmla="*/ 818707 w 4359348"/>
            <a:gd name="connsiteY17" fmla="*/ 308344 h 1968353"/>
            <a:gd name="connsiteX18" fmla="*/ 850604 w 4359348"/>
            <a:gd name="connsiteY18" fmla="*/ 329609 h 1968353"/>
            <a:gd name="connsiteX19" fmla="*/ 882502 w 4359348"/>
            <a:gd name="connsiteY19" fmla="*/ 340242 h 1968353"/>
            <a:gd name="connsiteX20" fmla="*/ 946297 w 4359348"/>
            <a:gd name="connsiteY20" fmla="*/ 382772 h 1968353"/>
            <a:gd name="connsiteX21" fmla="*/ 978195 w 4359348"/>
            <a:gd name="connsiteY21" fmla="*/ 404037 h 1968353"/>
            <a:gd name="connsiteX22" fmla="*/ 1063255 w 4359348"/>
            <a:gd name="connsiteY22" fmla="*/ 435935 h 1968353"/>
            <a:gd name="connsiteX23" fmla="*/ 1127051 w 4359348"/>
            <a:gd name="connsiteY23" fmla="*/ 478465 h 1968353"/>
            <a:gd name="connsiteX24" fmla="*/ 1148316 w 4359348"/>
            <a:gd name="connsiteY24" fmla="*/ 510363 h 1968353"/>
            <a:gd name="connsiteX25" fmla="*/ 1212111 w 4359348"/>
            <a:gd name="connsiteY25" fmla="*/ 531628 h 1968353"/>
            <a:gd name="connsiteX26" fmla="*/ 1233376 w 4359348"/>
            <a:gd name="connsiteY26" fmla="*/ 563526 h 1968353"/>
            <a:gd name="connsiteX27" fmla="*/ 1329069 w 4359348"/>
            <a:gd name="connsiteY27" fmla="*/ 616689 h 1968353"/>
            <a:gd name="connsiteX28" fmla="*/ 1414130 w 4359348"/>
            <a:gd name="connsiteY28" fmla="*/ 669851 h 1968353"/>
            <a:gd name="connsiteX29" fmla="*/ 1446027 w 4359348"/>
            <a:gd name="connsiteY29" fmla="*/ 680484 h 1968353"/>
            <a:gd name="connsiteX30" fmla="*/ 1467293 w 4359348"/>
            <a:gd name="connsiteY30" fmla="*/ 701749 h 1968353"/>
            <a:gd name="connsiteX31" fmla="*/ 1531088 w 4359348"/>
            <a:gd name="connsiteY31" fmla="*/ 744279 h 1968353"/>
            <a:gd name="connsiteX32" fmla="*/ 1552353 w 4359348"/>
            <a:gd name="connsiteY32" fmla="*/ 776177 h 1968353"/>
            <a:gd name="connsiteX33" fmla="*/ 1626781 w 4359348"/>
            <a:gd name="connsiteY33" fmla="*/ 850605 h 1968353"/>
            <a:gd name="connsiteX34" fmla="*/ 1648046 w 4359348"/>
            <a:gd name="connsiteY34" fmla="*/ 882503 h 1968353"/>
            <a:gd name="connsiteX35" fmla="*/ 1711841 w 4359348"/>
            <a:gd name="connsiteY35" fmla="*/ 935665 h 1968353"/>
            <a:gd name="connsiteX36" fmla="*/ 1733107 w 4359348"/>
            <a:gd name="connsiteY36" fmla="*/ 967563 h 1968353"/>
            <a:gd name="connsiteX37" fmla="*/ 1765004 w 4359348"/>
            <a:gd name="connsiteY37" fmla="*/ 1010093 h 1968353"/>
            <a:gd name="connsiteX38" fmla="*/ 1786269 w 4359348"/>
            <a:gd name="connsiteY38" fmla="*/ 1041991 h 1968353"/>
            <a:gd name="connsiteX39" fmla="*/ 1818167 w 4359348"/>
            <a:gd name="connsiteY39" fmla="*/ 1073889 h 1968353"/>
            <a:gd name="connsiteX40" fmla="*/ 1860697 w 4359348"/>
            <a:gd name="connsiteY40" fmla="*/ 1137684 h 1968353"/>
            <a:gd name="connsiteX41" fmla="*/ 1935125 w 4359348"/>
            <a:gd name="connsiteY41" fmla="*/ 1212112 h 1968353"/>
            <a:gd name="connsiteX42" fmla="*/ 1977655 w 4359348"/>
            <a:gd name="connsiteY42" fmla="*/ 1265275 h 1968353"/>
            <a:gd name="connsiteX43" fmla="*/ 2041451 w 4359348"/>
            <a:gd name="connsiteY43" fmla="*/ 1286540 h 1968353"/>
            <a:gd name="connsiteX44" fmla="*/ 2105246 w 4359348"/>
            <a:gd name="connsiteY44" fmla="*/ 1307805 h 1968353"/>
            <a:gd name="connsiteX45" fmla="*/ 2137144 w 4359348"/>
            <a:gd name="connsiteY45" fmla="*/ 1318437 h 1968353"/>
            <a:gd name="connsiteX46" fmla="*/ 2200939 w 4359348"/>
            <a:gd name="connsiteY46" fmla="*/ 1329070 h 1968353"/>
            <a:gd name="connsiteX47" fmla="*/ 2232837 w 4359348"/>
            <a:gd name="connsiteY47" fmla="*/ 1339703 h 1968353"/>
            <a:gd name="connsiteX48" fmla="*/ 2360427 w 4359348"/>
            <a:gd name="connsiteY48" fmla="*/ 1371600 h 1968353"/>
            <a:gd name="connsiteX49" fmla="*/ 2434855 w 4359348"/>
            <a:gd name="connsiteY49" fmla="*/ 1403498 h 1968353"/>
            <a:gd name="connsiteX50" fmla="*/ 2477386 w 4359348"/>
            <a:gd name="connsiteY50" fmla="*/ 1424763 h 1968353"/>
            <a:gd name="connsiteX51" fmla="*/ 2509283 w 4359348"/>
            <a:gd name="connsiteY51" fmla="*/ 1435396 h 1968353"/>
            <a:gd name="connsiteX52" fmla="*/ 2541181 w 4359348"/>
            <a:gd name="connsiteY52" fmla="*/ 1456661 h 1968353"/>
            <a:gd name="connsiteX53" fmla="*/ 2583711 w 4359348"/>
            <a:gd name="connsiteY53" fmla="*/ 1467293 h 1968353"/>
            <a:gd name="connsiteX54" fmla="*/ 2626241 w 4359348"/>
            <a:gd name="connsiteY54" fmla="*/ 1488558 h 1968353"/>
            <a:gd name="connsiteX55" fmla="*/ 2668772 w 4359348"/>
            <a:gd name="connsiteY55" fmla="*/ 1499191 h 1968353"/>
            <a:gd name="connsiteX56" fmla="*/ 2700669 w 4359348"/>
            <a:gd name="connsiteY56" fmla="*/ 1509823 h 1968353"/>
            <a:gd name="connsiteX57" fmla="*/ 2775097 w 4359348"/>
            <a:gd name="connsiteY57" fmla="*/ 1541721 h 1968353"/>
            <a:gd name="connsiteX58" fmla="*/ 2806995 w 4359348"/>
            <a:gd name="connsiteY58" fmla="*/ 1562986 h 1968353"/>
            <a:gd name="connsiteX59" fmla="*/ 2870790 w 4359348"/>
            <a:gd name="connsiteY59" fmla="*/ 1584251 h 1968353"/>
            <a:gd name="connsiteX60" fmla="*/ 2902688 w 4359348"/>
            <a:gd name="connsiteY60" fmla="*/ 1594884 h 1968353"/>
            <a:gd name="connsiteX61" fmla="*/ 3083441 w 4359348"/>
            <a:gd name="connsiteY61" fmla="*/ 1616149 h 1968353"/>
            <a:gd name="connsiteX62" fmla="*/ 3125972 w 4359348"/>
            <a:gd name="connsiteY62" fmla="*/ 1626782 h 1968353"/>
            <a:gd name="connsiteX63" fmla="*/ 3157869 w 4359348"/>
            <a:gd name="connsiteY63" fmla="*/ 1648047 h 1968353"/>
            <a:gd name="connsiteX64" fmla="*/ 3211032 w 4359348"/>
            <a:gd name="connsiteY64" fmla="*/ 1658679 h 1968353"/>
            <a:gd name="connsiteX65" fmla="*/ 3253562 w 4359348"/>
            <a:gd name="connsiteY65" fmla="*/ 1679944 h 1968353"/>
            <a:gd name="connsiteX66" fmla="*/ 3285460 w 4359348"/>
            <a:gd name="connsiteY66" fmla="*/ 1690577 h 1968353"/>
            <a:gd name="connsiteX67" fmla="*/ 3317358 w 4359348"/>
            <a:gd name="connsiteY67" fmla="*/ 1711842 h 1968353"/>
            <a:gd name="connsiteX68" fmla="*/ 3359888 w 4359348"/>
            <a:gd name="connsiteY68" fmla="*/ 1722475 h 1968353"/>
            <a:gd name="connsiteX69" fmla="*/ 3402418 w 4359348"/>
            <a:gd name="connsiteY69" fmla="*/ 1743740 h 1968353"/>
            <a:gd name="connsiteX70" fmla="*/ 3434316 w 4359348"/>
            <a:gd name="connsiteY70" fmla="*/ 1754372 h 1968353"/>
            <a:gd name="connsiteX71" fmla="*/ 3519376 w 4359348"/>
            <a:gd name="connsiteY71" fmla="*/ 1786270 h 1968353"/>
            <a:gd name="connsiteX72" fmla="*/ 3551274 w 4359348"/>
            <a:gd name="connsiteY72" fmla="*/ 1807535 h 1968353"/>
            <a:gd name="connsiteX73" fmla="*/ 3625702 w 4359348"/>
            <a:gd name="connsiteY73" fmla="*/ 1828800 h 1968353"/>
            <a:gd name="connsiteX74" fmla="*/ 3657600 w 4359348"/>
            <a:gd name="connsiteY74" fmla="*/ 1839433 h 1968353"/>
            <a:gd name="connsiteX75" fmla="*/ 3721395 w 4359348"/>
            <a:gd name="connsiteY75" fmla="*/ 1871330 h 1968353"/>
            <a:gd name="connsiteX76" fmla="*/ 3912781 w 4359348"/>
            <a:gd name="connsiteY76" fmla="*/ 1892596 h 1968353"/>
            <a:gd name="connsiteX77" fmla="*/ 3955311 w 4359348"/>
            <a:gd name="connsiteY77" fmla="*/ 1903228 h 1968353"/>
            <a:gd name="connsiteX78" fmla="*/ 4008474 w 4359348"/>
            <a:gd name="connsiteY78" fmla="*/ 1913861 h 1968353"/>
            <a:gd name="connsiteX79" fmla="*/ 4040372 w 4359348"/>
            <a:gd name="connsiteY79" fmla="*/ 1924493 h 1968353"/>
            <a:gd name="connsiteX80" fmla="*/ 4093534 w 4359348"/>
            <a:gd name="connsiteY80" fmla="*/ 1935126 h 1968353"/>
            <a:gd name="connsiteX81" fmla="*/ 4136065 w 4359348"/>
            <a:gd name="connsiteY81" fmla="*/ 1945758 h 1968353"/>
            <a:gd name="connsiteX82" fmla="*/ 4231758 w 4359348"/>
            <a:gd name="connsiteY82" fmla="*/ 1956391 h 1968353"/>
            <a:gd name="connsiteX83" fmla="*/ 4359348 w 4359348"/>
            <a:gd name="connsiteY83" fmla="*/ 1967023 h 1968353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  <a:cxn ang="0">
              <a:pos x="connsiteX5" y="connsiteY5"/>
            </a:cxn>
            <a:cxn ang="0">
              <a:pos x="connsiteX6" y="connsiteY6"/>
            </a:cxn>
            <a:cxn ang="0">
              <a:pos x="connsiteX7" y="connsiteY7"/>
            </a:cxn>
            <a:cxn ang="0">
              <a:pos x="connsiteX8" y="connsiteY8"/>
            </a:cxn>
            <a:cxn ang="0">
              <a:pos x="connsiteX9" y="connsiteY9"/>
            </a:cxn>
            <a:cxn ang="0">
              <a:pos x="connsiteX10" y="connsiteY10"/>
            </a:cxn>
            <a:cxn ang="0">
              <a:pos x="connsiteX11" y="connsiteY11"/>
            </a:cxn>
            <a:cxn ang="0">
              <a:pos x="connsiteX12" y="connsiteY12"/>
            </a:cxn>
            <a:cxn ang="0">
              <a:pos x="connsiteX13" y="connsiteY13"/>
            </a:cxn>
            <a:cxn ang="0">
              <a:pos x="connsiteX14" y="connsiteY14"/>
            </a:cxn>
            <a:cxn ang="0">
              <a:pos x="connsiteX15" y="connsiteY15"/>
            </a:cxn>
            <a:cxn ang="0">
              <a:pos x="connsiteX16" y="connsiteY16"/>
            </a:cxn>
            <a:cxn ang="0">
              <a:pos x="connsiteX17" y="connsiteY17"/>
            </a:cxn>
            <a:cxn ang="0">
              <a:pos x="connsiteX18" y="connsiteY18"/>
            </a:cxn>
            <a:cxn ang="0">
              <a:pos x="connsiteX19" y="connsiteY19"/>
            </a:cxn>
            <a:cxn ang="0">
              <a:pos x="connsiteX20" y="connsiteY20"/>
            </a:cxn>
            <a:cxn ang="0">
              <a:pos x="connsiteX21" y="connsiteY21"/>
            </a:cxn>
            <a:cxn ang="0">
              <a:pos x="connsiteX22" y="connsiteY22"/>
            </a:cxn>
            <a:cxn ang="0">
              <a:pos x="connsiteX23" y="connsiteY23"/>
            </a:cxn>
            <a:cxn ang="0">
              <a:pos x="connsiteX24" y="connsiteY24"/>
            </a:cxn>
            <a:cxn ang="0">
              <a:pos x="connsiteX25" y="connsiteY25"/>
            </a:cxn>
            <a:cxn ang="0">
              <a:pos x="connsiteX26" y="connsiteY26"/>
            </a:cxn>
            <a:cxn ang="0">
              <a:pos x="connsiteX27" y="connsiteY27"/>
            </a:cxn>
            <a:cxn ang="0">
              <a:pos x="connsiteX28" y="connsiteY28"/>
            </a:cxn>
            <a:cxn ang="0">
              <a:pos x="connsiteX29" y="connsiteY29"/>
            </a:cxn>
            <a:cxn ang="0">
              <a:pos x="connsiteX30" y="connsiteY30"/>
            </a:cxn>
            <a:cxn ang="0">
              <a:pos x="connsiteX31" y="connsiteY31"/>
            </a:cxn>
            <a:cxn ang="0">
              <a:pos x="connsiteX32" y="connsiteY32"/>
            </a:cxn>
            <a:cxn ang="0">
              <a:pos x="connsiteX33" y="connsiteY33"/>
            </a:cxn>
            <a:cxn ang="0">
              <a:pos x="connsiteX34" y="connsiteY34"/>
            </a:cxn>
            <a:cxn ang="0">
              <a:pos x="connsiteX35" y="connsiteY35"/>
            </a:cxn>
            <a:cxn ang="0">
              <a:pos x="connsiteX36" y="connsiteY36"/>
            </a:cxn>
            <a:cxn ang="0">
              <a:pos x="connsiteX37" y="connsiteY37"/>
            </a:cxn>
            <a:cxn ang="0">
              <a:pos x="connsiteX38" y="connsiteY38"/>
            </a:cxn>
            <a:cxn ang="0">
              <a:pos x="connsiteX39" y="connsiteY39"/>
            </a:cxn>
            <a:cxn ang="0">
              <a:pos x="connsiteX40" y="connsiteY40"/>
            </a:cxn>
            <a:cxn ang="0">
              <a:pos x="connsiteX41" y="connsiteY41"/>
            </a:cxn>
            <a:cxn ang="0">
              <a:pos x="connsiteX42" y="connsiteY42"/>
            </a:cxn>
            <a:cxn ang="0">
              <a:pos x="connsiteX43" y="connsiteY43"/>
            </a:cxn>
            <a:cxn ang="0">
              <a:pos x="connsiteX44" y="connsiteY44"/>
            </a:cxn>
            <a:cxn ang="0">
              <a:pos x="connsiteX45" y="connsiteY45"/>
            </a:cxn>
            <a:cxn ang="0">
              <a:pos x="connsiteX46" y="connsiteY46"/>
            </a:cxn>
            <a:cxn ang="0">
              <a:pos x="connsiteX47" y="connsiteY47"/>
            </a:cxn>
            <a:cxn ang="0">
              <a:pos x="connsiteX48" y="connsiteY48"/>
            </a:cxn>
            <a:cxn ang="0">
              <a:pos x="connsiteX49" y="connsiteY49"/>
            </a:cxn>
            <a:cxn ang="0">
              <a:pos x="connsiteX50" y="connsiteY50"/>
            </a:cxn>
            <a:cxn ang="0">
              <a:pos x="connsiteX51" y="connsiteY51"/>
            </a:cxn>
            <a:cxn ang="0">
              <a:pos x="connsiteX52" y="connsiteY52"/>
            </a:cxn>
            <a:cxn ang="0">
              <a:pos x="connsiteX53" y="connsiteY53"/>
            </a:cxn>
            <a:cxn ang="0">
              <a:pos x="connsiteX54" y="connsiteY54"/>
            </a:cxn>
            <a:cxn ang="0">
              <a:pos x="connsiteX55" y="connsiteY55"/>
            </a:cxn>
            <a:cxn ang="0">
              <a:pos x="connsiteX56" y="connsiteY56"/>
            </a:cxn>
            <a:cxn ang="0">
              <a:pos x="connsiteX57" y="connsiteY57"/>
            </a:cxn>
            <a:cxn ang="0">
              <a:pos x="connsiteX58" y="connsiteY58"/>
            </a:cxn>
            <a:cxn ang="0">
              <a:pos x="connsiteX59" y="connsiteY59"/>
            </a:cxn>
            <a:cxn ang="0">
              <a:pos x="connsiteX60" y="connsiteY60"/>
            </a:cxn>
            <a:cxn ang="0">
              <a:pos x="connsiteX61" y="connsiteY61"/>
            </a:cxn>
            <a:cxn ang="0">
              <a:pos x="connsiteX62" y="connsiteY62"/>
            </a:cxn>
            <a:cxn ang="0">
              <a:pos x="connsiteX63" y="connsiteY63"/>
            </a:cxn>
            <a:cxn ang="0">
              <a:pos x="connsiteX64" y="connsiteY64"/>
            </a:cxn>
            <a:cxn ang="0">
              <a:pos x="connsiteX65" y="connsiteY65"/>
            </a:cxn>
            <a:cxn ang="0">
              <a:pos x="connsiteX66" y="connsiteY66"/>
            </a:cxn>
            <a:cxn ang="0">
              <a:pos x="connsiteX67" y="connsiteY67"/>
            </a:cxn>
            <a:cxn ang="0">
              <a:pos x="connsiteX68" y="connsiteY68"/>
            </a:cxn>
            <a:cxn ang="0">
              <a:pos x="connsiteX69" y="connsiteY69"/>
            </a:cxn>
            <a:cxn ang="0">
              <a:pos x="connsiteX70" y="connsiteY70"/>
            </a:cxn>
            <a:cxn ang="0">
              <a:pos x="connsiteX71" y="connsiteY71"/>
            </a:cxn>
            <a:cxn ang="0">
              <a:pos x="connsiteX72" y="connsiteY72"/>
            </a:cxn>
            <a:cxn ang="0">
              <a:pos x="connsiteX73" y="connsiteY73"/>
            </a:cxn>
            <a:cxn ang="0">
              <a:pos x="connsiteX74" y="connsiteY74"/>
            </a:cxn>
            <a:cxn ang="0">
              <a:pos x="connsiteX75" y="connsiteY75"/>
            </a:cxn>
            <a:cxn ang="0">
              <a:pos x="connsiteX76" y="connsiteY76"/>
            </a:cxn>
            <a:cxn ang="0">
              <a:pos x="connsiteX77" y="connsiteY77"/>
            </a:cxn>
            <a:cxn ang="0">
              <a:pos x="connsiteX78" y="connsiteY78"/>
            </a:cxn>
            <a:cxn ang="0">
              <a:pos x="connsiteX79" y="connsiteY79"/>
            </a:cxn>
            <a:cxn ang="0">
              <a:pos x="connsiteX80" y="connsiteY80"/>
            </a:cxn>
            <a:cxn ang="0">
              <a:pos x="connsiteX81" y="connsiteY81"/>
            </a:cxn>
            <a:cxn ang="0">
              <a:pos x="connsiteX82" y="connsiteY82"/>
            </a:cxn>
            <a:cxn ang="0">
              <a:pos x="connsiteX83" y="connsiteY83"/>
            </a:cxn>
          </a:cxnLst>
          <a:rect l="l" t="t" r="r" b="b"/>
          <a:pathLst>
            <a:path w="4359348" h="1968353">
              <a:moveTo>
                <a:pt x="0" y="0"/>
              </a:moveTo>
              <a:cubicBezTo>
                <a:pt x="21265" y="3544"/>
                <a:pt x="42655" y="6405"/>
                <a:pt x="63795" y="10633"/>
              </a:cubicBezTo>
              <a:cubicBezTo>
                <a:pt x="119209" y="21716"/>
                <a:pt x="90920" y="18383"/>
                <a:pt x="138223" y="31898"/>
              </a:cubicBezTo>
              <a:cubicBezTo>
                <a:pt x="152274" y="35912"/>
                <a:pt x="166756" y="38331"/>
                <a:pt x="180753" y="42530"/>
              </a:cubicBezTo>
              <a:cubicBezTo>
                <a:pt x="202223" y="48971"/>
                <a:pt x="223283" y="56708"/>
                <a:pt x="244548" y="63796"/>
              </a:cubicBezTo>
              <a:lnTo>
                <a:pt x="276446" y="74428"/>
              </a:lnTo>
              <a:cubicBezTo>
                <a:pt x="326995" y="108127"/>
                <a:pt x="296220" y="91651"/>
                <a:pt x="372139" y="116958"/>
              </a:cubicBezTo>
              <a:cubicBezTo>
                <a:pt x="382772" y="120502"/>
                <a:pt x="394712" y="121374"/>
                <a:pt x="404037" y="127591"/>
              </a:cubicBezTo>
              <a:cubicBezTo>
                <a:pt x="414669" y="134679"/>
                <a:pt x="424257" y="143666"/>
                <a:pt x="435934" y="148856"/>
              </a:cubicBezTo>
              <a:cubicBezTo>
                <a:pt x="456418" y="157960"/>
                <a:pt x="478465" y="163032"/>
                <a:pt x="499730" y="170121"/>
              </a:cubicBezTo>
              <a:lnTo>
                <a:pt x="531627" y="180754"/>
              </a:lnTo>
              <a:lnTo>
                <a:pt x="563525" y="191386"/>
              </a:lnTo>
              <a:cubicBezTo>
                <a:pt x="570613" y="202019"/>
                <a:pt x="574157" y="216196"/>
                <a:pt x="584790" y="223284"/>
              </a:cubicBezTo>
              <a:cubicBezTo>
                <a:pt x="596949" y="231390"/>
                <a:pt x="613323" y="229717"/>
                <a:pt x="627320" y="233916"/>
              </a:cubicBezTo>
              <a:cubicBezTo>
                <a:pt x="648790" y="240357"/>
                <a:pt x="672465" y="242748"/>
                <a:pt x="691116" y="255182"/>
              </a:cubicBezTo>
              <a:cubicBezTo>
                <a:pt x="701748" y="262270"/>
                <a:pt x="711336" y="271257"/>
                <a:pt x="723013" y="276447"/>
              </a:cubicBezTo>
              <a:cubicBezTo>
                <a:pt x="743497" y="285551"/>
                <a:pt x="765544" y="290624"/>
                <a:pt x="786809" y="297712"/>
              </a:cubicBezTo>
              <a:lnTo>
                <a:pt x="818707" y="308344"/>
              </a:lnTo>
              <a:cubicBezTo>
                <a:pt x="829339" y="315432"/>
                <a:pt x="839175" y="323894"/>
                <a:pt x="850604" y="329609"/>
              </a:cubicBezTo>
              <a:cubicBezTo>
                <a:pt x="860629" y="334621"/>
                <a:pt x="872705" y="334799"/>
                <a:pt x="882502" y="340242"/>
              </a:cubicBezTo>
              <a:cubicBezTo>
                <a:pt x="904843" y="352654"/>
                <a:pt x="925032" y="368595"/>
                <a:pt x="946297" y="382772"/>
              </a:cubicBezTo>
              <a:lnTo>
                <a:pt x="978195" y="404037"/>
              </a:lnTo>
              <a:cubicBezTo>
                <a:pt x="990914" y="412516"/>
                <a:pt x="1043110" y="429220"/>
                <a:pt x="1063255" y="435935"/>
              </a:cubicBezTo>
              <a:lnTo>
                <a:pt x="1127051" y="478465"/>
              </a:lnTo>
              <a:cubicBezTo>
                <a:pt x="1137684" y="485553"/>
                <a:pt x="1137480" y="503590"/>
                <a:pt x="1148316" y="510363"/>
              </a:cubicBezTo>
              <a:cubicBezTo>
                <a:pt x="1167324" y="522243"/>
                <a:pt x="1212111" y="531628"/>
                <a:pt x="1212111" y="531628"/>
              </a:cubicBezTo>
              <a:cubicBezTo>
                <a:pt x="1219199" y="542261"/>
                <a:pt x="1223759" y="555111"/>
                <a:pt x="1233376" y="563526"/>
              </a:cubicBezTo>
              <a:cubicBezTo>
                <a:pt x="1278372" y="602897"/>
                <a:pt x="1285260" y="602085"/>
                <a:pt x="1329069" y="616689"/>
              </a:cubicBezTo>
              <a:cubicBezTo>
                <a:pt x="1362768" y="667237"/>
                <a:pt x="1338211" y="644544"/>
                <a:pt x="1414130" y="669851"/>
              </a:cubicBezTo>
              <a:lnTo>
                <a:pt x="1446027" y="680484"/>
              </a:lnTo>
              <a:cubicBezTo>
                <a:pt x="1453116" y="687572"/>
                <a:pt x="1459273" y="695734"/>
                <a:pt x="1467293" y="701749"/>
              </a:cubicBezTo>
              <a:cubicBezTo>
                <a:pt x="1487739" y="717083"/>
                <a:pt x="1531088" y="744279"/>
                <a:pt x="1531088" y="744279"/>
              </a:cubicBezTo>
              <a:cubicBezTo>
                <a:pt x="1538176" y="754912"/>
                <a:pt x="1543804" y="766679"/>
                <a:pt x="1552353" y="776177"/>
              </a:cubicBezTo>
              <a:cubicBezTo>
                <a:pt x="1575824" y="802256"/>
                <a:pt x="1607319" y="821412"/>
                <a:pt x="1626781" y="850605"/>
              </a:cubicBezTo>
              <a:cubicBezTo>
                <a:pt x="1633869" y="861238"/>
                <a:pt x="1639010" y="873467"/>
                <a:pt x="1648046" y="882503"/>
              </a:cubicBezTo>
              <a:cubicBezTo>
                <a:pt x="1731689" y="966146"/>
                <a:pt x="1624742" y="831148"/>
                <a:pt x="1711841" y="935665"/>
              </a:cubicBezTo>
              <a:cubicBezTo>
                <a:pt x="1720022" y="945482"/>
                <a:pt x="1725679" y="957164"/>
                <a:pt x="1733107" y="967563"/>
              </a:cubicBezTo>
              <a:cubicBezTo>
                <a:pt x="1743407" y="981983"/>
                <a:pt x="1754704" y="995673"/>
                <a:pt x="1765004" y="1010093"/>
              </a:cubicBezTo>
              <a:cubicBezTo>
                <a:pt x="1772431" y="1020492"/>
                <a:pt x="1778088" y="1032174"/>
                <a:pt x="1786269" y="1041991"/>
              </a:cubicBezTo>
              <a:cubicBezTo>
                <a:pt x="1795895" y="1053543"/>
                <a:pt x="1807534" y="1063256"/>
                <a:pt x="1818167" y="1073889"/>
              </a:cubicBezTo>
              <a:cubicBezTo>
                <a:pt x="1838502" y="1134891"/>
                <a:pt x="1814238" y="1077950"/>
                <a:pt x="1860697" y="1137684"/>
              </a:cubicBezTo>
              <a:cubicBezTo>
                <a:pt x="1920411" y="1214460"/>
                <a:pt x="1874172" y="1191794"/>
                <a:pt x="1935125" y="1212112"/>
              </a:cubicBezTo>
              <a:cubicBezTo>
                <a:pt x="1942636" y="1223379"/>
                <a:pt x="1962506" y="1257701"/>
                <a:pt x="1977655" y="1265275"/>
              </a:cubicBezTo>
              <a:cubicBezTo>
                <a:pt x="1997704" y="1275300"/>
                <a:pt x="2020186" y="1279452"/>
                <a:pt x="2041451" y="1286540"/>
              </a:cubicBezTo>
              <a:lnTo>
                <a:pt x="2105246" y="1307805"/>
              </a:lnTo>
              <a:cubicBezTo>
                <a:pt x="2115879" y="1311349"/>
                <a:pt x="2126089" y="1316594"/>
                <a:pt x="2137144" y="1318437"/>
              </a:cubicBezTo>
              <a:cubicBezTo>
                <a:pt x="2158409" y="1321981"/>
                <a:pt x="2179894" y="1324393"/>
                <a:pt x="2200939" y="1329070"/>
              </a:cubicBezTo>
              <a:cubicBezTo>
                <a:pt x="2211880" y="1331501"/>
                <a:pt x="2222102" y="1336482"/>
                <a:pt x="2232837" y="1339703"/>
              </a:cubicBezTo>
              <a:cubicBezTo>
                <a:pt x="2311524" y="1363309"/>
                <a:pt x="2291151" y="1357745"/>
                <a:pt x="2360427" y="1371600"/>
              </a:cubicBezTo>
              <a:cubicBezTo>
                <a:pt x="2425068" y="1414694"/>
                <a:pt x="2356388" y="1374073"/>
                <a:pt x="2434855" y="1403498"/>
              </a:cubicBezTo>
              <a:cubicBezTo>
                <a:pt x="2449696" y="1409063"/>
                <a:pt x="2462817" y="1418519"/>
                <a:pt x="2477386" y="1424763"/>
              </a:cubicBezTo>
              <a:cubicBezTo>
                <a:pt x="2487687" y="1429178"/>
                <a:pt x="2499259" y="1430384"/>
                <a:pt x="2509283" y="1435396"/>
              </a:cubicBezTo>
              <a:cubicBezTo>
                <a:pt x="2520713" y="1441111"/>
                <a:pt x="2529435" y="1451627"/>
                <a:pt x="2541181" y="1456661"/>
              </a:cubicBezTo>
              <a:cubicBezTo>
                <a:pt x="2554612" y="1462417"/>
                <a:pt x="2569534" y="1463749"/>
                <a:pt x="2583711" y="1467293"/>
              </a:cubicBezTo>
              <a:cubicBezTo>
                <a:pt x="2597888" y="1474381"/>
                <a:pt x="2611400" y="1482993"/>
                <a:pt x="2626241" y="1488558"/>
              </a:cubicBezTo>
              <a:cubicBezTo>
                <a:pt x="2639924" y="1493689"/>
                <a:pt x="2654721" y="1495176"/>
                <a:pt x="2668772" y="1499191"/>
              </a:cubicBezTo>
              <a:cubicBezTo>
                <a:pt x="2679548" y="1502270"/>
                <a:pt x="2690037" y="1506279"/>
                <a:pt x="2700669" y="1509823"/>
              </a:cubicBezTo>
              <a:cubicBezTo>
                <a:pt x="2780747" y="1563210"/>
                <a:pt x="2678979" y="1500528"/>
                <a:pt x="2775097" y="1541721"/>
              </a:cubicBezTo>
              <a:cubicBezTo>
                <a:pt x="2786843" y="1546755"/>
                <a:pt x="2795318" y="1557796"/>
                <a:pt x="2806995" y="1562986"/>
              </a:cubicBezTo>
              <a:cubicBezTo>
                <a:pt x="2827478" y="1572090"/>
                <a:pt x="2849525" y="1577163"/>
                <a:pt x="2870790" y="1584251"/>
              </a:cubicBezTo>
              <a:cubicBezTo>
                <a:pt x="2881423" y="1587795"/>
                <a:pt x="2891567" y="1593494"/>
                <a:pt x="2902688" y="1594884"/>
              </a:cubicBezTo>
              <a:cubicBezTo>
                <a:pt x="3019594" y="1609497"/>
                <a:pt x="2959349" y="1602360"/>
                <a:pt x="3083441" y="1616149"/>
              </a:cubicBezTo>
              <a:cubicBezTo>
                <a:pt x="3097618" y="1619693"/>
                <a:pt x="3112540" y="1621025"/>
                <a:pt x="3125972" y="1626782"/>
              </a:cubicBezTo>
              <a:cubicBezTo>
                <a:pt x="3137717" y="1631816"/>
                <a:pt x="3145904" y="1643560"/>
                <a:pt x="3157869" y="1648047"/>
              </a:cubicBezTo>
              <a:cubicBezTo>
                <a:pt x="3174790" y="1654392"/>
                <a:pt x="3193311" y="1655135"/>
                <a:pt x="3211032" y="1658679"/>
              </a:cubicBezTo>
              <a:cubicBezTo>
                <a:pt x="3225209" y="1665767"/>
                <a:pt x="3238994" y="1673700"/>
                <a:pt x="3253562" y="1679944"/>
              </a:cubicBezTo>
              <a:cubicBezTo>
                <a:pt x="3263864" y="1684359"/>
                <a:pt x="3275435" y="1685565"/>
                <a:pt x="3285460" y="1690577"/>
              </a:cubicBezTo>
              <a:cubicBezTo>
                <a:pt x="3296890" y="1696292"/>
                <a:pt x="3305612" y="1706808"/>
                <a:pt x="3317358" y="1711842"/>
              </a:cubicBezTo>
              <a:cubicBezTo>
                <a:pt x="3330789" y="1717598"/>
                <a:pt x="3346205" y="1717344"/>
                <a:pt x="3359888" y="1722475"/>
              </a:cubicBezTo>
              <a:cubicBezTo>
                <a:pt x="3374729" y="1728040"/>
                <a:pt x="3387850" y="1737496"/>
                <a:pt x="3402418" y="1743740"/>
              </a:cubicBezTo>
              <a:cubicBezTo>
                <a:pt x="3412720" y="1748155"/>
                <a:pt x="3424014" y="1749957"/>
                <a:pt x="3434316" y="1754372"/>
              </a:cubicBezTo>
              <a:cubicBezTo>
                <a:pt x="3512162" y="1787734"/>
                <a:pt x="3440960" y="1766665"/>
                <a:pt x="3519376" y="1786270"/>
              </a:cubicBezTo>
              <a:cubicBezTo>
                <a:pt x="3530009" y="1793358"/>
                <a:pt x="3539844" y="1801820"/>
                <a:pt x="3551274" y="1807535"/>
              </a:cubicBezTo>
              <a:cubicBezTo>
                <a:pt x="3568274" y="1816035"/>
                <a:pt x="3609798" y="1824256"/>
                <a:pt x="3625702" y="1828800"/>
              </a:cubicBezTo>
              <a:cubicBezTo>
                <a:pt x="3636479" y="1831879"/>
                <a:pt x="3647575" y="1834421"/>
                <a:pt x="3657600" y="1839433"/>
              </a:cubicBezTo>
              <a:cubicBezTo>
                <a:pt x="3692649" y="1856958"/>
                <a:pt x="3682789" y="1865391"/>
                <a:pt x="3721395" y="1871330"/>
              </a:cubicBezTo>
              <a:cubicBezTo>
                <a:pt x="3934370" y="1904095"/>
                <a:pt x="3729628" y="1862071"/>
                <a:pt x="3912781" y="1892596"/>
              </a:cubicBezTo>
              <a:cubicBezTo>
                <a:pt x="3927195" y="1894998"/>
                <a:pt x="3941046" y="1900058"/>
                <a:pt x="3955311" y="1903228"/>
              </a:cubicBezTo>
              <a:cubicBezTo>
                <a:pt x="3972953" y="1907148"/>
                <a:pt x="3990942" y="1909478"/>
                <a:pt x="4008474" y="1913861"/>
              </a:cubicBezTo>
              <a:cubicBezTo>
                <a:pt x="4019347" y="1916579"/>
                <a:pt x="4029499" y="1921775"/>
                <a:pt x="4040372" y="1924493"/>
              </a:cubicBezTo>
              <a:cubicBezTo>
                <a:pt x="4057904" y="1928876"/>
                <a:pt x="4075893" y="1931206"/>
                <a:pt x="4093534" y="1935126"/>
              </a:cubicBezTo>
              <a:cubicBezTo>
                <a:pt x="4107799" y="1938296"/>
                <a:pt x="4121622" y="1943536"/>
                <a:pt x="4136065" y="1945758"/>
              </a:cubicBezTo>
              <a:cubicBezTo>
                <a:pt x="4167786" y="1950638"/>
                <a:pt x="4199860" y="1952847"/>
                <a:pt x="4231758" y="1956391"/>
              </a:cubicBezTo>
              <a:cubicBezTo>
                <a:pt x="4301795" y="1973899"/>
                <a:pt x="4259675" y="1967023"/>
                <a:pt x="4359348" y="1967023"/>
              </a:cubicBezTo>
            </a:path>
          </a:pathLst>
        </a:custGeom>
        <a:noFill xmlns:a="http://schemas.openxmlformats.org/drawingml/2006/main"/>
        <a:ln xmlns:a="http://schemas.openxmlformats.org/drawingml/2006/main" w="9525" cap="flat" cmpd="sng" algn="ctr">
          <a:noFill/>
          <a:prstDash val="solid"/>
          <a:round/>
          <a:headEnd type="none" w="med" len="med"/>
          <a:tailEnd type="none" w="med" len="med"/>
        </a:ln>
        <a:effectLst xmlns:a="http://schemas.openxmlformats.org/drawingml/2006/main"/>
      </cdr:spPr>
      <cdr:txBody>
        <a:bodyPr xmlns:a="http://schemas.openxmlformats.org/drawingml/2006/main" vertOverflow="clip" vert="horz" wrap="square" lIns="91440" tIns="45720" rIns="91440" bIns="45720" numCol="1" rtlCol="0" anchor="t" anchorCtr="0" compatLnSpc="1">
          <a:prstTxWarp prst="textNoShape">
            <a:avLst/>
          </a:prstTxWarp>
        </a:bodyPr>
        <a:lstStyle xmlns:a="http://schemas.openxmlformats.org/drawingml/2006/main"/>
        <a:p xmlns:a="http://schemas.openxmlformats.org/drawingml/2006/main">
          <a:endParaRPr lang="en-US" dirty="0"/>
        </a:p>
      </cdr:txBody>
    </cdr:sp>
  </cdr:relSizeAnchor>
  <cdr:relSizeAnchor xmlns:cdr="http://schemas.openxmlformats.org/drawingml/2006/chartDrawing">
    <cdr:from>
      <cdr:x>0.34694</cdr:x>
      <cdr:y>0.82102</cdr:y>
    </cdr:from>
    <cdr:to>
      <cdr:x>0.41627</cdr:x>
      <cdr:y>0.89905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3172406" y="3336592"/>
          <a:ext cx="633954" cy="3171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algn="l" rtl="0" fontAlgn="base">
            <a:spcBef>
              <a:spcPct val="0"/>
            </a:spcBef>
            <a:spcAft>
              <a:spcPct val="0"/>
            </a:spcAft>
            <a:defRPr sz="2000" kern="1200">
              <a:solidFill>
                <a:srgbClr val="000000"/>
              </a:solidFill>
              <a:latin typeface="Arial" charset="0"/>
              <a:ea typeface="+mn-ea"/>
              <a:cs typeface="+mn-cs"/>
            </a:defRPr>
          </a:lvl1pPr>
          <a:lvl2pPr marL="455613" indent="1588" algn="l" rtl="0" fontAlgn="base">
            <a:spcBef>
              <a:spcPct val="0"/>
            </a:spcBef>
            <a:spcAft>
              <a:spcPct val="0"/>
            </a:spcAft>
            <a:defRPr sz="2000" kern="1200">
              <a:solidFill>
                <a:srgbClr val="000000"/>
              </a:solidFill>
              <a:latin typeface="Arial" charset="0"/>
              <a:ea typeface="+mn-ea"/>
              <a:cs typeface="+mn-cs"/>
            </a:defRPr>
          </a:lvl2pPr>
          <a:lvl3pPr marL="912813" indent="1588" algn="l" rtl="0" fontAlgn="base">
            <a:spcBef>
              <a:spcPct val="0"/>
            </a:spcBef>
            <a:spcAft>
              <a:spcPct val="0"/>
            </a:spcAft>
            <a:defRPr sz="2000" kern="1200">
              <a:solidFill>
                <a:srgbClr val="000000"/>
              </a:solidFill>
              <a:latin typeface="Arial" charset="0"/>
              <a:ea typeface="+mn-ea"/>
              <a:cs typeface="+mn-cs"/>
            </a:defRPr>
          </a:lvl3pPr>
          <a:lvl4pPr marL="1370013" indent="1588" algn="l" rtl="0" fontAlgn="base">
            <a:spcBef>
              <a:spcPct val="0"/>
            </a:spcBef>
            <a:spcAft>
              <a:spcPct val="0"/>
            </a:spcAft>
            <a:defRPr sz="2000" kern="1200">
              <a:solidFill>
                <a:srgbClr val="000000"/>
              </a:solidFill>
              <a:latin typeface="Arial" charset="0"/>
              <a:ea typeface="+mn-ea"/>
              <a:cs typeface="+mn-cs"/>
            </a:defRPr>
          </a:lvl4pPr>
          <a:lvl5pPr marL="1827213" indent="1588" algn="l" rtl="0" fontAlgn="base">
            <a:spcBef>
              <a:spcPct val="0"/>
            </a:spcBef>
            <a:spcAft>
              <a:spcPct val="0"/>
            </a:spcAft>
            <a:defRPr sz="2000" kern="1200">
              <a:solidFill>
                <a:srgbClr val="000000"/>
              </a:solidFill>
              <a:latin typeface="Arial" charset="0"/>
              <a:ea typeface="+mn-ea"/>
              <a:cs typeface="+mn-cs"/>
            </a:defRPr>
          </a:lvl5pPr>
          <a:lvl6pPr marL="2286000" algn="l" defTabSz="914400" rtl="0" eaLnBrk="1" latinLnBrk="0" hangingPunct="1">
            <a:defRPr sz="2000" kern="1200">
              <a:solidFill>
                <a:srgbClr val="000000"/>
              </a:solidFill>
              <a:latin typeface="Arial" charset="0"/>
              <a:ea typeface="+mn-ea"/>
              <a:cs typeface="+mn-cs"/>
            </a:defRPr>
          </a:lvl6pPr>
          <a:lvl7pPr marL="2743200" algn="l" defTabSz="914400" rtl="0" eaLnBrk="1" latinLnBrk="0" hangingPunct="1">
            <a:defRPr sz="2000" kern="1200">
              <a:solidFill>
                <a:srgbClr val="000000"/>
              </a:solidFill>
              <a:latin typeface="Arial" charset="0"/>
              <a:ea typeface="+mn-ea"/>
              <a:cs typeface="+mn-cs"/>
            </a:defRPr>
          </a:lvl7pPr>
          <a:lvl8pPr marL="3200400" algn="l" defTabSz="914400" rtl="0" eaLnBrk="1" latinLnBrk="0" hangingPunct="1">
            <a:defRPr sz="2000" kern="1200">
              <a:solidFill>
                <a:srgbClr val="000000"/>
              </a:solidFill>
              <a:latin typeface="Arial" charset="0"/>
              <a:ea typeface="+mn-ea"/>
              <a:cs typeface="+mn-cs"/>
            </a:defRPr>
          </a:lvl8pPr>
          <a:lvl9pPr marL="3657600" algn="l" defTabSz="914400" rtl="0" eaLnBrk="1" latinLnBrk="0" hangingPunct="1">
            <a:defRPr sz="2000" kern="1200">
              <a:solidFill>
                <a:srgbClr val="000000"/>
              </a:solidFill>
              <a:latin typeface="Arial" charset="0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dirty="0" smtClean="0">
              <a:solidFill>
                <a:schemeClr val="bg1"/>
              </a:solidFill>
            </a:rPr>
            <a:t>2012</a:t>
          </a:r>
          <a:endParaRPr lang="en-US" sz="1400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54342</cdr:x>
      <cdr:y>0.867</cdr:y>
    </cdr:from>
    <cdr:to>
      <cdr:x>0.61275</cdr:x>
      <cdr:y>0.94503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4969009" y="3523425"/>
          <a:ext cx="633954" cy="3171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dirty="0" smtClean="0">
              <a:solidFill>
                <a:schemeClr val="bg1"/>
              </a:solidFill>
            </a:rPr>
            <a:t>2013</a:t>
          </a:r>
          <a:endParaRPr lang="en-US" sz="1400" dirty="0">
            <a:solidFill>
              <a:schemeClr val="bg1"/>
            </a:solidFill>
          </a:endParaRPr>
        </a:p>
      </cdr:txBody>
    </cdr:sp>
  </cdr:relSizeAnchor>
  <cdr:relSizeAnchor xmlns:cdr="http://schemas.openxmlformats.org/drawingml/2006/chartDrawing">
    <cdr:from>
      <cdr:x>0.16456</cdr:x>
      <cdr:y>0.78529</cdr:y>
    </cdr:from>
    <cdr:to>
      <cdr:x>0.23389</cdr:x>
      <cdr:y>0.86332</cdr:y>
    </cdr:to>
    <cdr:sp macro="" textlink="">
      <cdr:nvSpPr>
        <cdr:cNvPr id="8" name="TextBox 1"/>
        <cdr:cNvSpPr txBox="1"/>
      </cdr:nvSpPr>
      <cdr:spPr>
        <a:xfrm xmlns:a="http://schemas.openxmlformats.org/drawingml/2006/main">
          <a:off x="1504737" y="3191366"/>
          <a:ext cx="633953" cy="31711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dirty="0" smtClean="0">
              <a:solidFill>
                <a:schemeClr val="bg1"/>
              </a:solidFill>
            </a:rPr>
            <a:t>2011</a:t>
          </a:r>
          <a:endParaRPr lang="en-US" sz="1400" dirty="0">
            <a:solidFill>
              <a:schemeClr val="bg1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>
            <a:lvl1pPr defTabSz="930126"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4940" y="0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>
            <a:lvl1pPr algn="r" defTabSz="930126"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01ED05BC-032B-43F8-BCA5-28D76FE6ECE8}" type="datetimeFigureOut">
              <a:rPr lang="en-US"/>
              <a:pPr/>
              <a:t>1/28/2014</a:t>
            </a:fld>
            <a:endParaRPr lang="en-US" dirty="0"/>
          </a:p>
        </p:txBody>
      </p:sp>
      <p:sp>
        <p:nvSpPr>
          <p:cNvPr id="410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40646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5" tIns="46587" rIns="93175" bIns="46587" numCol="1" anchor="b" anchorCtr="0" compatLnSpc="1">
            <a:prstTxWarp prst="textNoShape">
              <a:avLst/>
            </a:prstTxWarp>
          </a:bodyPr>
          <a:lstStyle>
            <a:lvl1pPr defTabSz="930126"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410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4940" y="9440646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5" tIns="46587" rIns="93175" bIns="46587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BAB8AA3E-A1E7-4506-9127-8A62AEA1A31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412848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>
            <a:lvl1pPr defTabSz="930126"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4940" y="0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>
            <a:lvl1pPr algn="r" defTabSz="930126"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fld id="{20EFE3FB-8D6D-4179-851E-B445121DA9B3}" type="datetimeFigureOut">
              <a:rPr lang="en-US"/>
              <a:pPr/>
              <a:t>1/28/2014</a:t>
            </a:fld>
            <a:endParaRPr lang="en-US" dirty="0"/>
          </a:p>
        </p:txBody>
      </p:sp>
      <p:sp>
        <p:nvSpPr>
          <p:cNvPr id="163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9163" y="744538"/>
            <a:ext cx="4967287" cy="37274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0562" y="4721187"/>
            <a:ext cx="5444490" cy="4472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5" tIns="46587" rIns="93175" bIns="46587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Textmasterformate durch Klicken bearbeiten</a:t>
            </a:r>
          </a:p>
          <a:p>
            <a:pPr lvl="1"/>
            <a:r>
              <a:rPr lang="en-US" noProof="0" smtClean="0"/>
              <a:t>Zweite Ebene</a:t>
            </a:r>
          </a:p>
          <a:p>
            <a:pPr lvl="2"/>
            <a:r>
              <a:rPr lang="en-US" noProof="0" smtClean="0"/>
              <a:t>Dritte Ebene</a:t>
            </a:r>
          </a:p>
          <a:p>
            <a:pPr lvl="3"/>
            <a:r>
              <a:rPr lang="en-US" noProof="0" smtClean="0"/>
              <a:t>Vierte Ebene</a:t>
            </a:r>
          </a:p>
          <a:p>
            <a:pPr lvl="4"/>
            <a:r>
              <a:rPr lang="en-US" noProof="0" smtClean="0"/>
              <a:t>Fünfte Eben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40646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5" tIns="46587" rIns="93175" bIns="46587" numCol="1" anchor="b" anchorCtr="0" compatLnSpc="1">
            <a:prstTxWarp prst="textNoShape">
              <a:avLst/>
            </a:prstTxWarp>
          </a:bodyPr>
          <a:lstStyle>
            <a:lvl1pPr defTabSz="930126">
              <a:defRPr sz="120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endParaRPr lang="en-US" dirty="0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940" y="9440646"/>
            <a:ext cx="2949099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175" tIns="46587" rIns="93175" bIns="46587" numCol="1" anchor="b" anchorCtr="0" compatLnSpc="1">
            <a:prstTxWarp prst="textNoShape">
              <a:avLst/>
            </a:prstTxWarp>
          </a:bodyPr>
          <a:lstStyle>
            <a:lvl1pPr algn="r">
              <a:defRPr sz="1200" smtClean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fld id="{988A5389-7A44-44FB-9082-946F7D39B078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2931001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56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28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00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7213" algn="l" defTabSz="912813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88A5389-7A44-44FB-9082-946F7D39B078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8889576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88A5389-7A44-44FB-9082-946F7D39B078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9605512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988A5389-7A44-44FB-9082-946F7D39B078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2302394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CC0B62-735F-4396-A9DD-85077BABC7D2}" type="slidenum">
              <a:rPr lang="en-US" smtClean="0"/>
              <a:pPr/>
              <a:t>20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>
          <a:xfrm>
            <a:off x="800100" y="5715000"/>
            <a:ext cx="7543800" cy="304800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de-DE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9351058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imag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674" y="2052000"/>
            <a:ext cx="7488000" cy="162000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FontTx/>
              <a:buNone/>
              <a:defRPr sz="4800">
                <a:solidFill>
                  <a:schemeClr val="bg1"/>
                </a:solidFill>
              </a:defRPr>
            </a:lvl1pPr>
            <a:lvl2pPr>
              <a:defRPr sz="4800"/>
            </a:lvl2pPr>
            <a:lvl3pPr>
              <a:defRPr sz="4800"/>
            </a:lvl3pPr>
            <a:lvl4pPr>
              <a:defRPr sz="4800"/>
            </a:lvl4pPr>
            <a:lvl5pPr>
              <a:defRPr sz="4800"/>
            </a:lvl5pPr>
          </a:lstStyle>
          <a:p>
            <a:pPr lvl="0"/>
            <a:r>
              <a:rPr lang="de-DE" dirty="0" smtClean="0"/>
              <a:t>Click to </a:t>
            </a:r>
            <a:r>
              <a:rPr lang="de-DE" dirty="0" err="1" smtClean="0"/>
              <a:t>add</a:t>
            </a:r>
            <a:r>
              <a:rPr lang="de-DE" dirty="0" smtClean="0"/>
              <a:t> titl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07504" y="6237312"/>
            <a:ext cx="5760640" cy="5760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828000" y="4608000"/>
            <a:ext cx="432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_</a:t>
            </a:r>
            <a:r>
              <a:rPr lang="de-DE" dirty="0" err="1" smtClean="0"/>
              <a:t>Author</a:t>
            </a:r>
            <a:endParaRPr lang="de-DE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828000" y="4878000"/>
            <a:ext cx="4320000" cy="2520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Tx/>
              <a:buNone/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 smtClean="0"/>
              <a:t>_Sector</a:t>
            </a:r>
            <a:endParaRPr lang="de-DE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828000" y="5148000"/>
            <a:ext cx="4320000" cy="252000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600" b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 smtClean="0"/>
              <a:t>_</a:t>
            </a:r>
            <a:r>
              <a:rPr lang="en-US" sz="1600" dirty="0" smtClean="0">
                <a:solidFill>
                  <a:srgbClr val="FFFFFF"/>
                </a:solidFill>
                <a:latin typeface="+mn-lt"/>
              </a:rPr>
              <a:t>November 01, 2013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="" val="17047747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en-US" smtClean="0"/>
              <a:t>Click to edit Master title style</a:t>
            </a:r>
            <a:endParaRPr kumimoji="0"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en-US" smtClean="0"/>
              <a:t>Click to edit Master text styles</a:t>
            </a:r>
          </a:p>
          <a:p>
            <a:pPr lvl="1" eaLnBrk="1" latinLnBrk="0" hangingPunct="1"/>
            <a:r>
              <a:rPr lang="en-US" smtClean="0"/>
              <a:t>Second level</a:t>
            </a:r>
          </a:p>
          <a:p>
            <a:pPr lvl="2" eaLnBrk="1" latinLnBrk="0" hangingPunct="1"/>
            <a:r>
              <a:rPr lang="en-US" smtClean="0"/>
              <a:t>Third level</a:t>
            </a:r>
          </a:p>
          <a:p>
            <a:pPr lvl="3" eaLnBrk="1" latinLnBrk="0" hangingPunct="1"/>
            <a:r>
              <a:rPr lang="en-US" smtClean="0"/>
              <a:t>Fourth level</a:t>
            </a:r>
          </a:p>
          <a:p>
            <a:pPr lvl="4" eaLnBrk="1" latinLnBrk="0" hangingPunct="1"/>
            <a:r>
              <a:rPr lang="en-US" smtClean="0"/>
              <a:t>Fifth level</a:t>
            </a:r>
            <a:endParaRPr kumimoji="0"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ft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8" descr="PHLRTR2_CO"/>
          <p:cNvPicPr>
            <a:picLocks noChangeArrowheads="1"/>
          </p:cNvPicPr>
          <p:nvPr userDrawn="1"/>
        </p:nvPicPr>
        <p:blipFill>
          <a:blip r:embed="rId2" cstate="print"/>
          <a:srcRect l="12177" t="64865"/>
          <a:stretch>
            <a:fillRect/>
          </a:stretch>
        </p:blipFill>
        <p:spPr bwMode="auto">
          <a:xfrm>
            <a:off x="783773" y="2051301"/>
            <a:ext cx="3783705" cy="422958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</p:pic>
      <p:pic>
        <p:nvPicPr>
          <p:cNvPr id="5" name="Picture 10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810052" y="887640"/>
            <a:ext cx="5172556" cy="1016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6" name="Rectangle 5"/>
          <p:cNvSpPr>
            <a:spLocks noChangeArrowheads="1"/>
          </p:cNvSpPr>
          <p:nvPr userDrawn="1"/>
        </p:nvSpPr>
        <p:spPr bwMode="auto">
          <a:xfrm>
            <a:off x="0" y="3429000"/>
            <a:ext cx="9144000" cy="1524000"/>
          </a:xfrm>
          <a:prstGeom prst="rect">
            <a:avLst/>
          </a:prstGeom>
          <a:solidFill>
            <a:srgbClr val="0A5ED7">
              <a:alpha val="94116"/>
            </a:srgbClr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US" dirty="0">
              <a:solidFill>
                <a:srgbClr val="0B5ED7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347472" y="3596727"/>
            <a:ext cx="8142287" cy="914400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6197" y="677436"/>
            <a:ext cx="5237611" cy="21958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Rectangle 1"/>
          <p:cNvSpPr/>
          <p:nvPr userDrawn="1"/>
        </p:nvSpPr>
        <p:spPr bwMode="auto">
          <a:xfrm>
            <a:off x="556590" y="2103197"/>
            <a:ext cx="6175513" cy="901148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2113" y="565150"/>
            <a:ext cx="8359775" cy="9144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SHLRTR2_CO"/>
          <p:cNvPicPr>
            <a:picLocks noChangeArrowheads="1"/>
          </p:cNvPicPr>
          <p:nvPr userDrawn="1">
            <p:custDataLst>
              <p:tags r:id="rId1"/>
            </p:custDataLst>
          </p:nvPr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36950" y="2025650"/>
            <a:ext cx="2073275" cy="2797175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158838817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92113" y="565150"/>
            <a:ext cx="8359775" cy="9144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3079" name="Rectangle 11"/>
          <p:cNvSpPr>
            <a:spLocks noGrp="1" noChangeArrowheads="1"/>
          </p:cNvSpPr>
          <p:nvPr>
            <p:ph type="body" idx="1"/>
          </p:nvPr>
        </p:nvSpPr>
        <p:spPr bwMode="auto">
          <a:xfrm>
            <a:off x="392113" y="1714500"/>
            <a:ext cx="8359775" cy="438150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6" r:id="rId2"/>
    <p:sldLayoutId id="2147483711" r:id="rId3"/>
    <p:sldLayoutId id="2147483662" r:id="rId4"/>
    <p:sldLayoutId id="2147483672" r:id="rId5"/>
    <p:sldLayoutId id="2147483678" r:id="rId6"/>
    <p:sldLayoutId id="2147483679" r:id="rId7"/>
    <p:sldLayoutId id="2147483714" r:id="rId8"/>
  </p:sldLayoutIdLst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2875CA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000">
          <a:solidFill>
            <a:srgbClr val="000000"/>
          </a:solidFill>
          <a:latin typeface="Arial" charset="0"/>
        </a:defRPr>
      </a:lvl9pPr>
    </p:titleStyle>
    <p:bodyStyle>
      <a:lvl1pPr marL="169863" indent="-169863" algn="l" rtl="0" eaLnBrk="1" fontAlgn="base" hangingPunct="1">
        <a:lnSpc>
          <a:spcPct val="95000"/>
        </a:lnSpc>
        <a:spcBef>
          <a:spcPct val="20000"/>
        </a:spcBef>
        <a:spcAft>
          <a:spcPct val="0"/>
        </a:spcAft>
        <a:buSzPct val="100000"/>
        <a:buChar char="•"/>
        <a:defRPr sz="2000">
          <a:solidFill>
            <a:srgbClr val="000000"/>
          </a:solidFill>
          <a:latin typeface="+mn-lt"/>
          <a:ea typeface="+mn-ea"/>
          <a:cs typeface="+mn-cs"/>
        </a:defRPr>
      </a:lvl1pPr>
      <a:lvl2pPr marL="457200" indent="-223838" algn="l" rtl="0" eaLnBrk="1" fontAlgn="base" hangingPunct="1">
        <a:lnSpc>
          <a:spcPct val="95000"/>
        </a:lnSpc>
        <a:spcBef>
          <a:spcPct val="20000"/>
        </a:spcBef>
        <a:spcAft>
          <a:spcPct val="0"/>
        </a:spcAft>
        <a:buSzPct val="100000"/>
        <a:buChar char="–"/>
        <a:defRPr>
          <a:solidFill>
            <a:srgbClr val="000000"/>
          </a:solidFill>
          <a:latin typeface="+mn-lt"/>
        </a:defRPr>
      </a:lvl2pPr>
      <a:lvl3pPr marL="690563" indent="-180975" algn="l" rtl="0" eaLnBrk="1" fontAlgn="base" hangingPunct="1">
        <a:lnSpc>
          <a:spcPct val="95000"/>
        </a:lnSpc>
        <a:spcBef>
          <a:spcPct val="20000"/>
        </a:spcBef>
        <a:spcAft>
          <a:spcPct val="0"/>
        </a:spcAft>
        <a:buSzPct val="100000"/>
        <a:buChar char="•"/>
        <a:defRPr sz="1600">
          <a:solidFill>
            <a:srgbClr val="000000"/>
          </a:solidFill>
          <a:latin typeface="+mn-lt"/>
        </a:defRPr>
      </a:lvl3pPr>
      <a:lvl4pPr marL="966788" indent="-222250" algn="l" rtl="0" eaLnBrk="1" fontAlgn="base" hangingPunct="1">
        <a:lnSpc>
          <a:spcPct val="95000"/>
        </a:lnSpc>
        <a:spcBef>
          <a:spcPct val="20000"/>
        </a:spcBef>
        <a:spcAft>
          <a:spcPct val="0"/>
        </a:spcAft>
        <a:buSzPct val="100000"/>
        <a:buChar char="–"/>
        <a:defRPr sz="1400">
          <a:solidFill>
            <a:srgbClr val="000000"/>
          </a:solidFill>
          <a:latin typeface="+mn-lt"/>
        </a:defRPr>
      </a:lvl4pPr>
      <a:lvl5pPr marL="1147763" indent="-180975" algn="l" rtl="0" eaLnBrk="1" fontAlgn="base" hangingPunct="1">
        <a:lnSpc>
          <a:spcPct val="95000"/>
        </a:lnSpc>
        <a:spcBef>
          <a:spcPct val="20000"/>
        </a:spcBef>
        <a:spcAft>
          <a:spcPct val="0"/>
        </a:spcAft>
        <a:buSzPct val="100000"/>
        <a:buChar char="–"/>
        <a:defRPr sz="1200">
          <a:solidFill>
            <a:srgbClr val="000000"/>
          </a:solidFill>
          <a:latin typeface="+mn-lt"/>
        </a:defRPr>
      </a:lvl5pPr>
      <a:lvl6pPr marL="2540000" indent="-254000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100000"/>
        <a:buChar char="–"/>
        <a:defRPr sz="1600">
          <a:solidFill>
            <a:srgbClr val="000000"/>
          </a:solidFill>
          <a:latin typeface="+mn-lt"/>
        </a:defRPr>
      </a:lvl6pPr>
      <a:lvl7pPr marL="2997200" indent="-254000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100000"/>
        <a:buChar char="–"/>
        <a:defRPr sz="1600">
          <a:solidFill>
            <a:srgbClr val="000000"/>
          </a:solidFill>
          <a:latin typeface="+mn-lt"/>
        </a:defRPr>
      </a:lvl7pPr>
      <a:lvl8pPr marL="3454400" indent="-254000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100000"/>
        <a:buChar char="–"/>
        <a:defRPr sz="1600">
          <a:solidFill>
            <a:srgbClr val="000000"/>
          </a:solidFill>
          <a:latin typeface="+mn-lt"/>
        </a:defRPr>
      </a:lvl8pPr>
      <a:lvl9pPr marL="3911600" indent="-254000" algn="l" rtl="0" eaLnBrk="1" fontAlgn="base" hangingPunct="1">
        <a:lnSpc>
          <a:spcPct val="105000"/>
        </a:lnSpc>
        <a:spcBef>
          <a:spcPct val="20000"/>
        </a:spcBef>
        <a:spcAft>
          <a:spcPct val="0"/>
        </a:spcAft>
        <a:buSzPct val="100000"/>
        <a:buChar char="–"/>
        <a:defRPr sz="1600">
          <a:solidFill>
            <a:srgbClr val="000000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4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ideo" Target="../media/media1.wmv"/><Relationship Id="rId6" Type="http://schemas.microsoft.com/office/2007/relationships/media" Target="../media/media1.wmv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8.jpeg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2.xml"/><Relationship Id="rId4" Type="http://schemas.openxmlformats.org/officeDocument/2006/relationships/image" Target="../media/image1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3.xml"/><Relationship Id="rId5" Type="http://schemas.openxmlformats.org/officeDocument/2006/relationships/image" Target="../media/image11.png"/><Relationship Id="rId4" Type="http://schemas.openxmlformats.org/officeDocument/2006/relationships/image" Target="../media/image33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jpeg"/><Relationship Id="rId3" Type="http://schemas.openxmlformats.org/officeDocument/2006/relationships/audio" Target="../media/audio2.wav"/><Relationship Id="rId7" Type="http://schemas.openxmlformats.org/officeDocument/2006/relationships/image" Target="../media/image36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4.xml"/><Relationship Id="rId6" Type="http://schemas.openxmlformats.org/officeDocument/2006/relationships/image" Target="../media/image35.png"/><Relationship Id="rId5" Type="http://schemas.openxmlformats.org/officeDocument/2006/relationships/image" Target="../media/image11.png"/><Relationship Id="rId4" Type="http://schemas.openxmlformats.org/officeDocument/2006/relationships/image" Target="../media/image34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32.xml"/><Relationship Id="rId13" Type="http://schemas.openxmlformats.org/officeDocument/2006/relationships/tags" Target="../tags/tag37.xml"/><Relationship Id="rId18" Type="http://schemas.openxmlformats.org/officeDocument/2006/relationships/tags" Target="../tags/tag42.xml"/><Relationship Id="rId26" Type="http://schemas.openxmlformats.org/officeDocument/2006/relationships/tags" Target="../tags/tag50.xml"/><Relationship Id="rId39" Type="http://schemas.openxmlformats.org/officeDocument/2006/relationships/slideLayout" Target="../slideLayouts/slideLayout1.xml"/><Relationship Id="rId3" Type="http://schemas.openxmlformats.org/officeDocument/2006/relationships/tags" Target="../tags/tag27.xml"/><Relationship Id="rId21" Type="http://schemas.openxmlformats.org/officeDocument/2006/relationships/tags" Target="../tags/tag45.xml"/><Relationship Id="rId34" Type="http://schemas.openxmlformats.org/officeDocument/2006/relationships/tags" Target="../tags/tag58.xml"/><Relationship Id="rId7" Type="http://schemas.openxmlformats.org/officeDocument/2006/relationships/tags" Target="../tags/tag31.xml"/><Relationship Id="rId12" Type="http://schemas.openxmlformats.org/officeDocument/2006/relationships/tags" Target="../tags/tag36.xml"/><Relationship Id="rId17" Type="http://schemas.openxmlformats.org/officeDocument/2006/relationships/tags" Target="../tags/tag41.xml"/><Relationship Id="rId25" Type="http://schemas.openxmlformats.org/officeDocument/2006/relationships/tags" Target="../tags/tag49.xml"/><Relationship Id="rId33" Type="http://schemas.openxmlformats.org/officeDocument/2006/relationships/tags" Target="../tags/tag57.xml"/><Relationship Id="rId38" Type="http://schemas.openxmlformats.org/officeDocument/2006/relationships/tags" Target="../tags/tag62.xml"/><Relationship Id="rId2" Type="http://schemas.openxmlformats.org/officeDocument/2006/relationships/tags" Target="../tags/tag26.xml"/><Relationship Id="rId16" Type="http://schemas.openxmlformats.org/officeDocument/2006/relationships/tags" Target="../tags/tag40.xml"/><Relationship Id="rId20" Type="http://schemas.openxmlformats.org/officeDocument/2006/relationships/tags" Target="../tags/tag44.xml"/><Relationship Id="rId29" Type="http://schemas.openxmlformats.org/officeDocument/2006/relationships/tags" Target="../tags/tag53.xml"/><Relationship Id="rId41" Type="http://schemas.openxmlformats.org/officeDocument/2006/relationships/image" Target="../media/image11.png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tags" Target="../tags/tag35.xml"/><Relationship Id="rId24" Type="http://schemas.openxmlformats.org/officeDocument/2006/relationships/tags" Target="../tags/tag48.xml"/><Relationship Id="rId32" Type="http://schemas.openxmlformats.org/officeDocument/2006/relationships/tags" Target="../tags/tag56.xml"/><Relationship Id="rId37" Type="http://schemas.openxmlformats.org/officeDocument/2006/relationships/tags" Target="../tags/tag61.xml"/><Relationship Id="rId40" Type="http://schemas.openxmlformats.org/officeDocument/2006/relationships/image" Target="../media/image31.jpeg"/><Relationship Id="rId5" Type="http://schemas.openxmlformats.org/officeDocument/2006/relationships/tags" Target="../tags/tag29.xml"/><Relationship Id="rId15" Type="http://schemas.openxmlformats.org/officeDocument/2006/relationships/tags" Target="../tags/tag39.xml"/><Relationship Id="rId23" Type="http://schemas.openxmlformats.org/officeDocument/2006/relationships/tags" Target="../tags/tag47.xml"/><Relationship Id="rId28" Type="http://schemas.openxmlformats.org/officeDocument/2006/relationships/tags" Target="../tags/tag52.xml"/><Relationship Id="rId36" Type="http://schemas.openxmlformats.org/officeDocument/2006/relationships/tags" Target="../tags/tag60.xml"/><Relationship Id="rId10" Type="http://schemas.openxmlformats.org/officeDocument/2006/relationships/tags" Target="../tags/tag34.xml"/><Relationship Id="rId19" Type="http://schemas.openxmlformats.org/officeDocument/2006/relationships/tags" Target="../tags/tag43.xml"/><Relationship Id="rId31" Type="http://schemas.openxmlformats.org/officeDocument/2006/relationships/tags" Target="../tags/tag55.xml"/><Relationship Id="rId4" Type="http://schemas.openxmlformats.org/officeDocument/2006/relationships/tags" Target="../tags/tag28.xml"/><Relationship Id="rId9" Type="http://schemas.openxmlformats.org/officeDocument/2006/relationships/tags" Target="../tags/tag33.xml"/><Relationship Id="rId14" Type="http://schemas.openxmlformats.org/officeDocument/2006/relationships/tags" Target="../tags/tag38.xml"/><Relationship Id="rId22" Type="http://schemas.openxmlformats.org/officeDocument/2006/relationships/tags" Target="../tags/tag46.xml"/><Relationship Id="rId27" Type="http://schemas.openxmlformats.org/officeDocument/2006/relationships/tags" Target="../tags/tag51.xml"/><Relationship Id="rId30" Type="http://schemas.openxmlformats.org/officeDocument/2006/relationships/tags" Target="../tags/tag54.xml"/><Relationship Id="rId35" Type="http://schemas.openxmlformats.org/officeDocument/2006/relationships/tags" Target="../tags/tag59.xml"/></Relationships>
</file>

<file path=ppt/slides/_rels/slide14.xml.rels><?xml version="1.0" encoding="UTF-8" standalone="yes"?>
<Relationships xmlns="http://schemas.openxmlformats.org/package/2006/relationships"><Relationship Id="rId13" Type="http://schemas.openxmlformats.org/officeDocument/2006/relationships/tags" Target="../tags/tag75.xml"/><Relationship Id="rId18" Type="http://schemas.openxmlformats.org/officeDocument/2006/relationships/tags" Target="../tags/tag80.xml"/><Relationship Id="rId26" Type="http://schemas.openxmlformats.org/officeDocument/2006/relationships/tags" Target="../tags/tag88.xml"/><Relationship Id="rId39" Type="http://schemas.openxmlformats.org/officeDocument/2006/relationships/tags" Target="../tags/tag101.xml"/><Relationship Id="rId3" Type="http://schemas.openxmlformats.org/officeDocument/2006/relationships/tags" Target="../tags/tag65.xml"/><Relationship Id="rId21" Type="http://schemas.openxmlformats.org/officeDocument/2006/relationships/tags" Target="../tags/tag83.xml"/><Relationship Id="rId34" Type="http://schemas.openxmlformats.org/officeDocument/2006/relationships/tags" Target="../tags/tag96.xml"/><Relationship Id="rId42" Type="http://schemas.openxmlformats.org/officeDocument/2006/relationships/tags" Target="../tags/tag104.xml"/><Relationship Id="rId47" Type="http://schemas.openxmlformats.org/officeDocument/2006/relationships/tags" Target="../tags/tag109.xml"/><Relationship Id="rId50" Type="http://schemas.openxmlformats.org/officeDocument/2006/relationships/image" Target="../media/image11.png"/><Relationship Id="rId7" Type="http://schemas.openxmlformats.org/officeDocument/2006/relationships/tags" Target="../tags/tag69.xml"/><Relationship Id="rId12" Type="http://schemas.openxmlformats.org/officeDocument/2006/relationships/tags" Target="../tags/tag74.xml"/><Relationship Id="rId17" Type="http://schemas.openxmlformats.org/officeDocument/2006/relationships/tags" Target="../tags/tag79.xml"/><Relationship Id="rId25" Type="http://schemas.openxmlformats.org/officeDocument/2006/relationships/tags" Target="../tags/tag87.xml"/><Relationship Id="rId33" Type="http://schemas.openxmlformats.org/officeDocument/2006/relationships/tags" Target="../tags/tag95.xml"/><Relationship Id="rId38" Type="http://schemas.openxmlformats.org/officeDocument/2006/relationships/tags" Target="../tags/tag100.xml"/><Relationship Id="rId46" Type="http://schemas.openxmlformats.org/officeDocument/2006/relationships/tags" Target="../tags/tag108.xml"/><Relationship Id="rId2" Type="http://schemas.openxmlformats.org/officeDocument/2006/relationships/tags" Target="../tags/tag64.xml"/><Relationship Id="rId16" Type="http://schemas.openxmlformats.org/officeDocument/2006/relationships/tags" Target="../tags/tag78.xml"/><Relationship Id="rId20" Type="http://schemas.openxmlformats.org/officeDocument/2006/relationships/tags" Target="../tags/tag82.xml"/><Relationship Id="rId29" Type="http://schemas.openxmlformats.org/officeDocument/2006/relationships/tags" Target="../tags/tag91.xml"/><Relationship Id="rId41" Type="http://schemas.openxmlformats.org/officeDocument/2006/relationships/tags" Target="../tags/tag103.xml"/><Relationship Id="rId1" Type="http://schemas.openxmlformats.org/officeDocument/2006/relationships/tags" Target="../tags/tag63.x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24" Type="http://schemas.openxmlformats.org/officeDocument/2006/relationships/tags" Target="../tags/tag86.xml"/><Relationship Id="rId32" Type="http://schemas.openxmlformats.org/officeDocument/2006/relationships/tags" Target="../tags/tag94.xml"/><Relationship Id="rId37" Type="http://schemas.openxmlformats.org/officeDocument/2006/relationships/tags" Target="../tags/tag99.xml"/><Relationship Id="rId40" Type="http://schemas.openxmlformats.org/officeDocument/2006/relationships/tags" Target="../tags/tag102.xml"/><Relationship Id="rId45" Type="http://schemas.openxmlformats.org/officeDocument/2006/relationships/tags" Target="../tags/tag107.xml"/><Relationship Id="rId53" Type="http://schemas.openxmlformats.org/officeDocument/2006/relationships/image" Target="../media/image40.png"/><Relationship Id="rId5" Type="http://schemas.openxmlformats.org/officeDocument/2006/relationships/tags" Target="../tags/tag67.xml"/><Relationship Id="rId15" Type="http://schemas.openxmlformats.org/officeDocument/2006/relationships/tags" Target="../tags/tag77.xml"/><Relationship Id="rId23" Type="http://schemas.openxmlformats.org/officeDocument/2006/relationships/tags" Target="../tags/tag85.xml"/><Relationship Id="rId28" Type="http://schemas.openxmlformats.org/officeDocument/2006/relationships/tags" Target="../tags/tag90.xml"/><Relationship Id="rId36" Type="http://schemas.openxmlformats.org/officeDocument/2006/relationships/tags" Target="../tags/tag98.xml"/><Relationship Id="rId49" Type="http://schemas.openxmlformats.org/officeDocument/2006/relationships/image" Target="../media/image31.jpeg"/><Relationship Id="rId10" Type="http://schemas.openxmlformats.org/officeDocument/2006/relationships/tags" Target="../tags/tag72.xml"/><Relationship Id="rId19" Type="http://schemas.openxmlformats.org/officeDocument/2006/relationships/tags" Target="../tags/tag81.xml"/><Relationship Id="rId31" Type="http://schemas.openxmlformats.org/officeDocument/2006/relationships/tags" Target="../tags/tag93.xml"/><Relationship Id="rId44" Type="http://schemas.openxmlformats.org/officeDocument/2006/relationships/tags" Target="../tags/tag106.xml"/><Relationship Id="rId52" Type="http://schemas.openxmlformats.org/officeDocument/2006/relationships/image" Target="../media/image39.png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tags" Target="../tags/tag76.xml"/><Relationship Id="rId22" Type="http://schemas.openxmlformats.org/officeDocument/2006/relationships/tags" Target="../tags/tag84.xml"/><Relationship Id="rId27" Type="http://schemas.openxmlformats.org/officeDocument/2006/relationships/tags" Target="../tags/tag89.xml"/><Relationship Id="rId30" Type="http://schemas.openxmlformats.org/officeDocument/2006/relationships/tags" Target="../tags/tag92.xml"/><Relationship Id="rId35" Type="http://schemas.openxmlformats.org/officeDocument/2006/relationships/tags" Target="../tags/tag97.xml"/><Relationship Id="rId43" Type="http://schemas.openxmlformats.org/officeDocument/2006/relationships/tags" Target="../tags/tag105.xml"/><Relationship Id="rId48" Type="http://schemas.openxmlformats.org/officeDocument/2006/relationships/slideLayout" Target="../slideLayouts/slideLayout1.xml"/><Relationship Id="rId8" Type="http://schemas.openxmlformats.org/officeDocument/2006/relationships/tags" Target="../tags/tag70.xml"/><Relationship Id="rId51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6.jpeg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microsoft.com/office/2007/relationships/hdphoto" Target="../media/hdphoto2.wdp"/><Relationship Id="rId5" Type="http://schemas.openxmlformats.org/officeDocument/2006/relationships/image" Target="../media/image41.png"/><Relationship Id="rId4" Type="http://schemas.openxmlformats.org/officeDocument/2006/relationships/notesSlide" Target="../notesSlides/notesSlide3.xml"/><Relationship Id="rId9" Type="http://schemas.microsoft.com/office/2007/relationships/hdphoto" Target="../media/hdphoto3.wdp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slideLayout" Target="../slideLayouts/slideLayout1.xml"/><Relationship Id="rId7" Type="http://schemas.openxmlformats.org/officeDocument/2006/relationships/chart" Target="../charts/chart7.xml"/><Relationship Id="rId2" Type="http://schemas.openxmlformats.org/officeDocument/2006/relationships/tags" Target="../tags/tag113.xml"/><Relationship Id="rId1" Type="http://schemas.openxmlformats.org/officeDocument/2006/relationships/tags" Target="../tags/tag112.xml"/><Relationship Id="rId6" Type="http://schemas.openxmlformats.org/officeDocument/2006/relationships/image" Target="../media/image44.png"/><Relationship Id="rId5" Type="http://schemas.openxmlformats.org/officeDocument/2006/relationships/image" Target="../media/image11.png"/><Relationship Id="rId4" Type="http://schemas.openxmlformats.org/officeDocument/2006/relationships/image" Target="../media/image43.jpeg"/><Relationship Id="rId9" Type="http://schemas.microsoft.com/office/2007/relationships/hdphoto" Target="../media/hdphoto4.wdp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image" Target="../media/image31.jpeg"/><Relationship Id="rId7" Type="http://schemas.openxmlformats.org/officeDocument/2006/relationships/image" Target="../media/image48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4.xml"/><Relationship Id="rId6" Type="http://schemas.openxmlformats.org/officeDocument/2006/relationships/image" Target="../media/image47.jpeg"/><Relationship Id="rId5" Type="http://schemas.openxmlformats.org/officeDocument/2006/relationships/image" Target="../media/image46.jpeg"/><Relationship Id="rId4" Type="http://schemas.openxmlformats.org/officeDocument/2006/relationships/image" Target="../media/image11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31.jpeg"/><Relationship Id="rId7" Type="http://schemas.openxmlformats.org/officeDocument/2006/relationships/diagramQuickStyle" Target="../diagrams/quickStyl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5.xml"/><Relationship Id="rId6" Type="http://schemas.openxmlformats.org/officeDocument/2006/relationships/diagramLayout" Target="../diagrams/layout1.xml"/><Relationship Id="rId11" Type="http://schemas.openxmlformats.org/officeDocument/2006/relationships/image" Target="../media/image51.jpeg"/><Relationship Id="rId5" Type="http://schemas.openxmlformats.org/officeDocument/2006/relationships/diagramData" Target="../diagrams/data1.xml"/><Relationship Id="rId10" Type="http://schemas.openxmlformats.org/officeDocument/2006/relationships/image" Target="../media/image50.jpeg"/><Relationship Id="rId4" Type="http://schemas.openxmlformats.org/officeDocument/2006/relationships/image" Target="../media/image11.png"/><Relationship Id="rId9" Type="http://schemas.microsoft.com/office/2007/relationships/diagramDrawing" Target="../diagrams/drawing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7" Type="http://schemas.openxmlformats.org/officeDocument/2006/relationships/image" Target="../media/image5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6.xml"/><Relationship Id="rId6" Type="http://schemas.openxmlformats.org/officeDocument/2006/relationships/image" Target="../media/image53.png"/><Relationship Id="rId5" Type="http://schemas.microsoft.com/office/2007/relationships/hdphoto" Target="../media/hdphoto2.wdp"/><Relationship Id="rId4" Type="http://schemas.openxmlformats.org/officeDocument/2006/relationships/image" Target="../media/image5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Relationship Id="rId6" Type="http://schemas.microsoft.com/office/2007/relationships/hdphoto" Target="../media/hdphoto1.wdp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2.xml"/><Relationship Id="rId13" Type="http://schemas.openxmlformats.org/officeDocument/2006/relationships/image" Target="../media/image57.png"/><Relationship Id="rId3" Type="http://schemas.openxmlformats.org/officeDocument/2006/relationships/notesSlide" Target="../notesSlides/notesSlide4.xml"/><Relationship Id="rId7" Type="http://schemas.openxmlformats.org/officeDocument/2006/relationships/diagramQuickStyle" Target="../diagrams/quickStyle2.xml"/><Relationship Id="rId12" Type="http://schemas.openxmlformats.org/officeDocument/2006/relationships/image" Target="../media/image5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17.xml"/><Relationship Id="rId6" Type="http://schemas.openxmlformats.org/officeDocument/2006/relationships/diagramLayout" Target="../diagrams/layout2.xml"/><Relationship Id="rId11" Type="http://schemas.microsoft.com/office/2007/relationships/hdphoto" Target="../media/hdphoto2.wdp"/><Relationship Id="rId5" Type="http://schemas.openxmlformats.org/officeDocument/2006/relationships/diagramData" Target="../diagrams/data2.xml"/><Relationship Id="rId10" Type="http://schemas.openxmlformats.org/officeDocument/2006/relationships/image" Target="../media/image52.png"/><Relationship Id="rId4" Type="http://schemas.openxmlformats.org/officeDocument/2006/relationships/image" Target="../media/image55.jpeg"/><Relationship Id="rId9" Type="http://schemas.microsoft.com/office/2007/relationships/diagramDrawing" Target="../diagrams/drawing2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jpeg"/><Relationship Id="rId3" Type="http://schemas.openxmlformats.org/officeDocument/2006/relationships/image" Target="../media/image31.jpeg"/><Relationship Id="rId7" Type="http://schemas.openxmlformats.org/officeDocument/2006/relationships/image" Target="../media/image60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8.xml"/><Relationship Id="rId6" Type="http://schemas.openxmlformats.org/officeDocument/2006/relationships/image" Target="../media/image59.jpeg"/><Relationship Id="rId5" Type="http://schemas.openxmlformats.org/officeDocument/2006/relationships/image" Target="../media/image58.jpeg"/><Relationship Id="rId10" Type="http://schemas.openxmlformats.org/officeDocument/2006/relationships/image" Target="../media/image63.jpeg"/><Relationship Id="rId4" Type="http://schemas.openxmlformats.org/officeDocument/2006/relationships/image" Target="../media/image11.png"/><Relationship Id="rId9" Type="http://schemas.openxmlformats.org/officeDocument/2006/relationships/image" Target="../media/image62.jpeg"/></Relationships>
</file>

<file path=ppt/slides/_rels/slide22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3" Type="http://schemas.openxmlformats.org/officeDocument/2006/relationships/image" Target="../media/image64.jpeg"/><Relationship Id="rId7" Type="http://schemas.openxmlformats.org/officeDocument/2006/relationships/image" Target="../media/image5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9.xml"/><Relationship Id="rId6" Type="http://schemas.microsoft.com/office/2007/relationships/hdphoto" Target="../media/hdphoto5.wdp"/><Relationship Id="rId5" Type="http://schemas.openxmlformats.org/officeDocument/2006/relationships/image" Target="../media/image66.png"/><Relationship Id="rId4" Type="http://schemas.openxmlformats.org/officeDocument/2006/relationships/image" Target="../media/image65.jpeg"/><Relationship Id="rId9" Type="http://schemas.openxmlformats.org/officeDocument/2006/relationships/image" Target="../media/image3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0.xml"/><Relationship Id="rId6" Type="http://schemas.openxmlformats.org/officeDocument/2006/relationships/image" Target="../media/image67.png"/><Relationship Id="rId5" Type="http://schemas.microsoft.com/office/2007/relationships/hdphoto" Target="../media/hdphoto2.wdp"/><Relationship Id="rId4" Type="http://schemas.openxmlformats.org/officeDocument/2006/relationships/image" Target="../media/image52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68.jpeg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chart" Target="../charts/chart8.xml"/><Relationship Id="rId5" Type="http://schemas.openxmlformats.org/officeDocument/2006/relationships/image" Target="../media/image11.png"/><Relationship Id="rId4" Type="http://schemas.openxmlformats.org/officeDocument/2006/relationships/audio" Target="../media/audio3.wav"/><Relationship Id="rId9" Type="http://schemas.microsoft.com/office/2007/relationships/hdphoto" Target="../media/hdphoto6.wdp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7" Type="http://schemas.openxmlformats.org/officeDocument/2006/relationships/image" Target="../media/image73.emf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123.xml"/><Relationship Id="rId6" Type="http://schemas.openxmlformats.org/officeDocument/2006/relationships/image" Target="../media/image72.emf"/><Relationship Id="rId5" Type="http://schemas.openxmlformats.org/officeDocument/2006/relationships/image" Target="../media/image71.jpeg"/><Relationship Id="rId4" Type="http://schemas.openxmlformats.org/officeDocument/2006/relationships/image" Target="../media/image11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6.png"/><Relationship Id="rId4" Type="http://schemas.openxmlformats.org/officeDocument/2006/relationships/image" Target="../media/image75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jpeg"/><Relationship Id="rId3" Type="http://schemas.openxmlformats.org/officeDocument/2006/relationships/image" Target="../media/image77.jpeg"/><Relationship Id="rId7" Type="http://schemas.openxmlformats.org/officeDocument/2006/relationships/image" Target="../media/image79.jpe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1.xml"/><Relationship Id="rId6" Type="http://schemas.microsoft.com/office/2007/relationships/hdphoto" Target="../media/hdphoto7.wdp"/><Relationship Id="rId5" Type="http://schemas.openxmlformats.org/officeDocument/2006/relationships/image" Target="../media/image78.jpeg"/><Relationship Id="rId10" Type="http://schemas.microsoft.com/office/2007/relationships/hdphoto" Target="../media/hdphoto8.wdp"/><Relationship Id="rId4" Type="http://schemas.openxmlformats.org/officeDocument/2006/relationships/image" Target="../media/image11.png"/><Relationship Id="rId9" Type="http://schemas.openxmlformats.org/officeDocument/2006/relationships/image" Target="../media/image81.jpe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7.jpeg"/><Relationship Id="rId3" Type="http://schemas.openxmlformats.org/officeDocument/2006/relationships/image" Target="../media/image11.png"/><Relationship Id="rId7" Type="http://schemas.openxmlformats.org/officeDocument/2006/relationships/image" Target="../media/image86.jpeg"/><Relationship Id="rId2" Type="http://schemas.openxmlformats.org/officeDocument/2006/relationships/image" Target="../media/image8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5.jpeg"/><Relationship Id="rId11" Type="http://schemas.openxmlformats.org/officeDocument/2006/relationships/image" Target="../media/image90.jpeg"/><Relationship Id="rId5" Type="http://schemas.openxmlformats.org/officeDocument/2006/relationships/image" Target="../media/image84.png"/><Relationship Id="rId10" Type="http://schemas.openxmlformats.org/officeDocument/2006/relationships/image" Target="../media/image89.jpeg"/><Relationship Id="rId4" Type="http://schemas.openxmlformats.org/officeDocument/2006/relationships/image" Target="../media/image83.jpeg"/><Relationship Id="rId9" Type="http://schemas.openxmlformats.org/officeDocument/2006/relationships/image" Target="../media/image88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tags" Target="../tags/tag131.xml"/><Relationship Id="rId13" Type="http://schemas.openxmlformats.org/officeDocument/2006/relationships/image" Target="../media/image94.gif"/><Relationship Id="rId18" Type="http://schemas.openxmlformats.org/officeDocument/2006/relationships/image" Target="../media/image99.png"/><Relationship Id="rId3" Type="http://schemas.openxmlformats.org/officeDocument/2006/relationships/tags" Target="../tags/tag126.xml"/><Relationship Id="rId7" Type="http://schemas.openxmlformats.org/officeDocument/2006/relationships/tags" Target="../tags/tag130.xml"/><Relationship Id="rId12" Type="http://schemas.openxmlformats.org/officeDocument/2006/relationships/image" Target="../media/image93.jpeg"/><Relationship Id="rId17" Type="http://schemas.openxmlformats.org/officeDocument/2006/relationships/image" Target="../media/image98.png"/><Relationship Id="rId2" Type="http://schemas.openxmlformats.org/officeDocument/2006/relationships/tags" Target="../tags/tag125.xml"/><Relationship Id="rId16" Type="http://schemas.openxmlformats.org/officeDocument/2006/relationships/image" Target="../media/image97.png"/><Relationship Id="rId1" Type="http://schemas.openxmlformats.org/officeDocument/2006/relationships/tags" Target="../tags/tag124.xml"/><Relationship Id="rId6" Type="http://schemas.openxmlformats.org/officeDocument/2006/relationships/tags" Target="../tags/tag129.xml"/><Relationship Id="rId11" Type="http://schemas.openxmlformats.org/officeDocument/2006/relationships/image" Target="../media/image92.jpeg"/><Relationship Id="rId5" Type="http://schemas.openxmlformats.org/officeDocument/2006/relationships/tags" Target="../tags/tag128.xml"/><Relationship Id="rId15" Type="http://schemas.openxmlformats.org/officeDocument/2006/relationships/image" Target="../media/image96.gif"/><Relationship Id="rId10" Type="http://schemas.openxmlformats.org/officeDocument/2006/relationships/image" Target="../media/image91.jpeg"/><Relationship Id="rId19" Type="http://schemas.openxmlformats.org/officeDocument/2006/relationships/image" Target="../media/image11.png"/><Relationship Id="rId4" Type="http://schemas.openxmlformats.org/officeDocument/2006/relationships/tags" Target="../tags/tag127.xml"/><Relationship Id="rId9" Type="http://schemas.openxmlformats.org/officeDocument/2006/relationships/slideLayout" Target="../slideLayouts/slideLayout3.xml"/><Relationship Id="rId14" Type="http://schemas.openxmlformats.org/officeDocument/2006/relationships/image" Target="../media/image95.gi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6.jpeg"/><Relationship Id="rId4" Type="http://schemas.openxmlformats.org/officeDocument/2006/relationships/image" Target="../media/image15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jpeg"/><Relationship Id="rId2" Type="http://schemas.openxmlformats.org/officeDocument/2006/relationships/image" Target="../media/image100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02.jpeg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jpeg"/><Relationship Id="rId1" Type="http://schemas.openxmlformats.org/officeDocument/2006/relationships/slideLayout" Target="../slideLayouts/slideLayout1.xml"/></Relationships>
</file>

<file path=ppt/slides/_rels/slide32.xml.rels><?xml version="1.0" encoding="UTF-8" standalone="yes"?>
<Relationships xmlns="http://schemas.openxmlformats.org/package/2006/relationships"><Relationship Id="rId3" Type="http://schemas.microsoft.com/office/2007/relationships/media" Target="../media/media2.wmv"/><Relationship Id="rId2" Type="http://schemas.openxmlformats.org/officeDocument/2006/relationships/slideLayout" Target="../slideLayouts/slideLayout1.xml"/><Relationship Id="rId1" Type="http://schemas.openxmlformats.org/officeDocument/2006/relationships/video" Target="../media/media2.wmv"/><Relationship Id="rId6" Type="http://schemas.openxmlformats.org/officeDocument/2006/relationships/image" Target="../media/image106.jpeg"/><Relationship Id="rId5" Type="http://schemas.openxmlformats.org/officeDocument/2006/relationships/image" Target="../media/image105.png"/><Relationship Id="rId4" Type="http://schemas.openxmlformats.org/officeDocument/2006/relationships/image" Target="../media/image10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13" Type="http://schemas.openxmlformats.org/officeDocument/2006/relationships/image" Target="../media/image11.png"/><Relationship Id="rId3" Type="http://schemas.openxmlformats.org/officeDocument/2006/relationships/tags" Target="../tags/tag7.xml"/><Relationship Id="rId7" Type="http://schemas.openxmlformats.org/officeDocument/2006/relationships/tags" Target="../tags/tag11.xml"/><Relationship Id="rId12" Type="http://schemas.openxmlformats.org/officeDocument/2006/relationships/image" Target="../media/image18.jpe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11" Type="http://schemas.openxmlformats.org/officeDocument/2006/relationships/image" Target="../media/image17.jpeg"/><Relationship Id="rId5" Type="http://schemas.openxmlformats.org/officeDocument/2006/relationships/tags" Target="../tags/tag9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8.xml"/><Relationship Id="rId9" Type="http://schemas.openxmlformats.org/officeDocument/2006/relationships/tags" Target="../tags/tag13.xml"/><Relationship Id="rId14" Type="http://schemas.openxmlformats.org/officeDocument/2006/relationships/image" Target="../media/image1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20.jpeg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6" Type="http://schemas.openxmlformats.org/officeDocument/2006/relationships/image" Target="../media/image21.png"/><Relationship Id="rId5" Type="http://schemas.openxmlformats.org/officeDocument/2006/relationships/chart" Target="../charts/chart1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3" Type="http://schemas.openxmlformats.org/officeDocument/2006/relationships/slideLayout" Target="../slideLayouts/slideLayout1.xml"/><Relationship Id="rId7" Type="http://schemas.openxmlformats.org/officeDocument/2006/relationships/chart" Target="../charts/chart2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1.png"/><Relationship Id="rId5" Type="http://schemas.openxmlformats.org/officeDocument/2006/relationships/image" Target="../media/image24.jpeg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7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20.xml"/><Relationship Id="rId7" Type="http://schemas.openxmlformats.org/officeDocument/2006/relationships/chart" Target="../charts/chart4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6" Type="http://schemas.openxmlformats.org/officeDocument/2006/relationships/image" Target="../media/image29.jpeg"/><Relationship Id="rId5" Type="http://schemas.openxmlformats.org/officeDocument/2006/relationships/audio" Target="../media/audio1.wav"/><Relationship Id="rId10" Type="http://schemas.openxmlformats.org/officeDocument/2006/relationships/chart" Target="../charts/chart6.xml"/><Relationship Id="rId4" Type="http://schemas.openxmlformats.org/officeDocument/2006/relationships/slideLayout" Target="../slideLayouts/slideLayout1.xml"/><Relationship Id="rId9" Type="http://schemas.openxmlformats.org/officeDocument/2006/relationships/chart" Target="../charts/char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1.xml"/><Relationship Id="rId5" Type="http://schemas.openxmlformats.org/officeDocument/2006/relationships/image" Target="../media/image3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Clouds fly trough rain,loop.wmv">
            <a:hlinkClick r:id="" action="ppaction://media"/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xmlns="" r:embed="rId6"/>
              </p:ext>
            </p:extLst>
          </p:nvPr>
        </p:nvPicPr>
        <p:blipFill rotWithShape="1">
          <a:blip r:embed="rId7" cstate="print">
            <a:lum contrast="20000"/>
          </a:blip>
          <a:srcRect t="21250"/>
          <a:stretch/>
        </p:blipFill>
        <p:spPr>
          <a:xfrm>
            <a:off x="78847" y="23750"/>
            <a:ext cx="8992182" cy="4800600"/>
          </a:xfrm>
          <a:prstGeom prst="rect">
            <a:avLst/>
          </a:prstGeom>
          <a:ln>
            <a:noFill/>
          </a:ln>
          <a:effectLst/>
        </p:spPr>
      </p:pic>
      <p:sp>
        <p:nvSpPr>
          <p:cNvPr id="8" name="Text Box 6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3223" y="6205501"/>
            <a:ext cx="5573279" cy="638249"/>
          </a:xfrm>
          <a:prstGeom prst="rect">
            <a:avLst/>
          </a:prstGeom>
          <a:noFill/>
          <a:ln>
            <a:noFill/>
          </a:ln>
          <a:effectLst>
            <a:outerShdw blurRad="57785" dist="33020" dir="318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brightRoom" dir="t">
              <a:rot lat="0" lon="0" rev="600000"/>
            </a:lightRig>
          </a:scene3d>
          <a:sp3d prstMaterial="metal">
            <a:bevelT w="38100" h="57150" prst="angle"/>
          </a:sp3d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/>
          <a:p>
            <a:r>
              <a:rPr lang="en-US" sz="1600" b="1" noProof="1" smtClean="0">
                <a:solidFill>
                  <a:schemeClr val="tx1"/>
                </a:solidFill>
              </a:rPr>
              <a:t>Facilities BIC Team</a:t>
            </a:r>
          </a:p>
          <a:p>
            <a:r>
              <a:rPr lang="en-US" sz="1600" b="1" noProof="1" smtClean="0">
                <a:solidFill>
                  <a:schemeClr val="tx1"/>
                </a:solidFill>
              </a:rPr>
              <a:t>Singapore Submarine 577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 flipH="1">
            <a:off x="55097" y="2101931"/>
            <a:ext cx="9002283" cy="2947738"/>
          </a:xfrm>
          <a:prstGeom prst="rect">
            <a:avLst/>
          </a:prstGeom>
        </p:spPr>
      </p:pic>
      <p:sp>
        <p:nvSpPr>
          <p:cNvPr id="13" name="Freeform 12"/>
          <p:cNvSpPr/>
          <p:nvPr/>
        </p:nvSpPr>
        <p:spPr bwMode="auto">
          <a:xfrm>
            <a:off x="8366078" y="4217158"/>
            <a:ext cx="750678" cy="723332"/>
          </a:xfrm>
          <a:custGeom>
            <a:avLst/>
            <a:gdLst>
              <a:gd name="connsiteX0" fmla="*/ 0 w 750678"/>
              <a:gd name="connsiteY0" fmla="*/ 723332 h 723332"/>
              <a:gd name="connsiteX1" fmla="*/ 109182 w 750678"/>
              <a:gd name="connsiteY1" fmla="*/ 655093 h 723332"/>
              <a:gd name="connsiteX2" fmla="*/ 150125 w 750678"/>
              <a:gd name="connsiteY2" fmla="*/ 641445 h 723332"/>
              <a:gd name="connsiteX3" fmla="*/ 232012 w 750678"/>
              <a:gd name="connsiteY3" fmla="*/ 600502 h 723332"/>
              <a:gd name="connsiteX4" fmla="*/ 259307 w 750678"/>
              <a:gd name="connsiteY4" fmla="*/ 559558 h 723332"/>
              <a:gd name="connsiteX5" fmla="*/ 300250 w 750678"/>
              <a:gd name="connsiteY5" fmla="*/ 532263 h 723332"/>
              <a:gd name="connsiteX6" fmla="*/ 313898 w 750678"/>
              <a:gd name="connsiteY6" fmla="*/ 491320 h 723332"/>
              <a:gd name="connsiteX7" fmla="*/ 436728 w 750678"/>
              <a:gd name="connsiteY7" fmla="*/ 423081 h 723332"/>
              <a:gd name="connsiteX8" fmla="*/ 491319 w 750678"/>
              <a:gd name="connsiteY8" fmla="*/ 341194 h 723332"/>
              <a:gd name="connsiteX9" fmla="*/ 573206 w 750678"/>
              <a:gd name="connsiteY9" fmla="*/ 286603 h 723332"/>
              <a:gd name="connsiteX10" fmla="*/ 586853 w 750678"/>
              <a:gd name="connsiteY10" fmla="*/ 218364 h 723332"/>
              <a:gd name="connsiteX11" fmla="*/ 655092 w 750678"/>
              <a:gd name="connsiteY11" fmla="*/ 163773 h 723332"/>
              <a:gd name="connsiteX12" fmla="*/ 696035 w 750678"/>
              <a:gd name="connsiteY12" fmla="*/ 136478 h 723332"/>
              <a:gd name="connsiteX13" fmla="*/ 723331 w 750678"/>
              <a:gd name="connsiteY13" fmla="*/ 54591 h 723332"/>
              <a:gd name="connsiteX14" fmla="*/ 750626 w 750678"/>
              <a:gd name="connsiteY14" fmla="*/ 0 h 7233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750678" h="723332">
                <a:moveTo>
                  <a:pt x="0" y="723332"/>
                </a:moveTo>
                <a:cubicBezTo>
                  <a:pt x="178605" y="651888"/>
                  <a:pt x="-21919" y="742493"/>
                  <a:pt x="109182" y="655093"/>
                </a:cubicBezTo>
                <a:cubicBezTo>
                  <a:pt x="121152" y="647113"/>
                  <a:pt x="137258" y="647879"/>
                  <a:pt x="150125" y="641445"/>
                </a:cubicBezTo>
                <a:cubicBezTo>
                  <a:pt x="255940" y="588536"/>
                  <a:pt x="129108" y="634801"/>
                  <a:pt x="232012" y="600502"/>
                </a:cubicBezTo>
                <a:cubicBezTo>
                  <a:pt x="241110" y="586854"/>
                  <a:pt x="247709" y="571157"/>
                  <a:pt x="259307" y="559558"/>
                </a:cubicBezTo>
                <a:cubicBezTo>
                  <a:pt x="270905" y="547960"/>
                  <a:pt x="290003" y="545071"/>
                  <a:pt x="300250" y="532263"/>
                </a:cubicBezTo>
                <a:cubicBezTo>
                  <a:pt x="309237" y="521030"/>
                  <a:pt x="303726" y="501492"/>
                  <a:pt x="313898" y="491320"/>
                </a:cubicBezTo>
                <a:cubicBezTo>
                  <a:pt x="360826" y="444392"/>
                  <a:pt x="385243" y="440243"/>
                  <a:pt x="436728" y="423081"/>
                </a:cubicBezTo>
                <a:lnTo>
                  <a:pt x="491319" y="341194"/>
                </a:lnTo>
                <a:cubicBezTo>
                  <a:pt x="509516" y="313898"/>
                  <a:pt x="573206" y="286603"/>
                  <a:pt x="573206" y="286603"/>
                </a:cubicBezTo>
                <a:cubicBezTo>
                  <a:pt x="577755" y="263857"/>
                  <a:pt x="578708" y="240084"/>
                  <a:pt x="586853" y="218364"/>
                </a:cubicBezTo>
                <a:cubicBezTo>
                  <a:pt x="608089" y="161734"/>
                  <a:pt x="610902" y="185868"/>
                  <a:pt x="655092" y="163773"/>
                </a:cubicBezTo>
                <a:cubicBezTo>
                  <a:pt x="669763" y="156438"/>
                  <a:pt x="682387" y="145576"/>
                  <a:pt x="696035" y="136478"/>
                </a:cubicBezTo>
                <a:cubicBezTo>
                  <a:pt x="705134" y="109182"/>
                  <a:pt x="707371" y="78531"/>
                  <a:pt x="723331" y="54591"/>
                </a:cubicBezTo>
                <a:cubicBezTo>
                  <a:pt x="753149" y="9863"/>
                  <a:pt x="750626" y="30050"/>
                  <a:pt x="750626" y="0"/>
                </a:cubicBezTo>
              </a:path>
            </a:pathLst>
          </a:cu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pic>
        <p:nvPicPr>
          <p:cNvPr id="12" name="Picture 11"/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3480" y="1"/>
            <a:ext cx="9144000" cy="5872680"/>
          </a:xfrm>
          <a:prstGeom prst="rect">
            <a:avLst/>
          </a:prstGeom>
        </p:spPr>
      </p:pic>
      <p:sp>
        <p:nvSpPr>
          <p:cNvPr id="5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213200" y="5114263"/>
            <a:ext cx="7427905" cy="911130"/>
          </a:xfrm>
          <a:solidFill>
            <a:schemeClr val="bg1"/>
          </a:solidFill>
          <a:ln>
            <a:noFill/>
          </a:ln>
          <a:effectLst>
            <a:softEdge rad="635000"/>
          </a:effectLst>
          <a:scene3d>
            <a:camera prst="orthographicFront">
              <a:rot lat="0" lon="0" rev="0"/>
            </a:camera>
            <a:lightRig rig="glow" dir="t">
              <a:rot lat="0" lon="0" rev="14100000"/>
            </a:lightRig>
          </a:scene3d>
          <a:sp3d prstMaterial="softEdge">
            <a:bevelT w="127000" prst="artDeco"/>
          </a:sp3d>
        </p:spPr>
        <p:txBody>
          <a:bodyPr/>
          <a:lstStyle/>
          <a:p>
            <a:r>
              <a:rPr lang="en-US" sz="3600" b="1" dirty="0">
                <a:solidFill>
                  <a:schemeClr val="bg2">
                    <a:lumMod val="75000"/>
                  </a:schemeClr>
                </a:solidFill>
                <a:effectLst>
                  <a:innerShdw blurRad="63500" dist="50800" dir="18900000">
                    <a:prstClr val="black">
                      <a:alpha val="50000"/>
                    </a:prstClr>
                  </a:innerShdw>
                </a:effectLst>
              </a:rPr>
              <a:t>Water Efficiency Management System and Measures</a:t>
            </a:r>
          </a:p>
          <a:p>
            <a:endParaRPr lang="en-US" sz="3600" dirty="0">
              <a:solidFill>
                <a:schemeClr val="bg2">
                  <a:lumMod val="75000"/>
                </a:schemeClr>
              </a:solidFill>
              <a:effectLst>
                <a:innerShdw blurRad="63500" dist="50800" dir="18900000">
                  <a:prstClr val="black">
                    <a:alpha val="50000"/>
                  </a:prstClr>
                </a:innerShdw>
              </a:effectLst>
            </a:endParaRPr>
          </a:p>
        </p:txBody>
      </p:sp>
      <p:pic>
        <p:nvPicPr>
          <p:cNvPr id="11" name="Picture 10" descr="http://www.sjbparish.com/pics/contpics/Water_Conservation_Tips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102548" y="5149907"/>
            <a:ext cx="1767628" cy="9705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40967020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0476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seq concurrent="1" nextAc="seek">
              <p:cTn id="7" restart="whenNotActive" fill="hold" evtFilter="cancelBubble" nodeType="interactiveSeq">
                <p:stCondLst>
                  <p:cond evt="onClick" delay="0">
                    <p:tgtEl>
                      <p:spTgt spid="1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8" fill="hold">
                      <p:stCondLst>
                        <p:cond delay="0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1" dur="1" fill="hold"/>
                                        <p:tgtEl>
                                          <p:spTgt spid="1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4"/>
                  </p:tgtEl>
                </p:cond>
              </p:nextCondLst>
            </p:seq>
            <p:video>
              <p:cMediaNode vol="80000">
                <p:cTn id="12" repeatCount="indefinite" fill="hold" display="0">
                  <p:stCondLst>
                    <p:cond delay="indefinite"/>
                  </p:stCondLst>
                </p:cTn>
                <p:tgtEl>
                  <p:spTgt spid="14"/>
                </p:tgtEl>
              </p:cMediaNode>
            </p:video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Picture 6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8336" b="16622"/>
          <a:stretch/>
        </p:blipFill>
        <p:spPr>
          <a:xfrm>
            <a:off x="0" y="652145"/>
            <a:ext cx="9144000" cy="6203295"/>
          </a:xfrm>
          <a:prstGeom prst="rect">
            <a:avLst/>
          </a:prstGeom>
        </p:spPr>
      </p:pic>
      <p:sp>
        <p:nvSpPr>
          <p:cNvPr id="6" name="Text Placeholder 1"/>
          <p:cNvSpPr txBox="1">
            <a:spLocks/>
          </p:cNvSpPr>
          <p:nvPr/>
        </p:nvSpPr>
        <p:spPr bwMode="auto">
          <a:xfrm>
            <a:off x="103970" y="2757581"/>
            <a:ext cx="8835243" cy="774327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9" name="Straight Arrow Connector 8"/>
          <p:cNvCxnSpPr/>
          <p:nvPr/>
        </p:nvCxnSpPr>
        <p:spPr bwMode="auto">
          <a:xfrm>
            <a:off x="489098" y="4054200"/>
            <a:ext cx="5932967" cy="23751"/>
          </a:xfrm>
          <a:prstGeom prst="straightConnector1">
            <a:avLst/>
          </a:prstGeom>
          <a:ln w="79375">
            <a:headEnd type="none" w="med" len="med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 bwMode="auto">
          <a:xfrm>
            <a:off x="5177642" y="3340438"/>
            <a:ext cx="748145" cy="700644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 bwMode="auto">
          <a:xfrm flipV="1">
            <a:off x="4363490" y="4089827"/>
            <a:ext cx="695398" cy="948200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 bwMode="auto">
          <a:xfrm>
            <a:off x="2388460" y="3340438"/>
            <a:ext cx="699124" cy="688769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 bwMode="auto">
          <a:xfrm flipV="1">
            <a:off x="1786270" y="4077954"/>
            <a:ext cx="921304" cy="960073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5" name="Oval 4"/>
          <p:cNvSpPr/>
          <p:nvPr/>
        </p:nvSpPr>
        <p:spPr bwMode="auto">
          <a:xfrm>
            <a:off x="1246910" y="2179694"/>
            <a:ext cx="2283100" cy="1146461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Leakage at water fixtures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  <p:sp>
        <p:nvSpPr>
          <p:cNvPr id="20" name="Oval 19"/>
          <p:cNvSpPr/>
          <p:nvPr/>
        </p:nvSpPr>
        <p:spPr bwMode="auto">
          <a:xfrm>
            <a:off x="3922854" y="2179693"/>
            <a:ext cx="2283100" cy="1150111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High flow rate at water tap</a:t>
            </a:r>
          </a:p>
        </p:txBody>
      </p:sp>
      <p:sp>
        <p:nvSpPr>
          <p:cNvPr id="23" name="Oval 22"/>
          <p:cNvSpPr/>
          <p:nvPr/>
        </p:nvSpPr>
        <p:spPr bwMode="auto">
          <a:xfrm>
            <a:off x="155761" y="5151025"/>
            <a:ext cx="2605252" cy="1069041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Lack of communication/</a:t>
            </a:r>
          </a:p>
          <a:p>
            <a:pPr algn="ctr"/>
            <a:r>
              <a:rPr lang="en-US" sz="1600" b="1" dirty="0">
                <a:solidFill>
                  <a:schemeClr val="bg1"/>
                </a:solidFill>
              </a:rPr>
              <a:t>feedback channel</a:t>
            </a:r>
          </a:p>
        </p:txBody>
      </p:sp>
      <p:sp>
        <p:nvSpPr>
          <p:cNvPr id="24" name="Oval 23"/>
          <p:cNvSpPr/>
          <p:nvPr/>
        </p:nvSpPr>
        <p:spPr bwMode="auto">
          <a:xfrm>
            <a:off x="3087584" y="5151026"/>
            <a:ext cx="2551813" cy="1195161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Cafeteria staff lack awareness</a:t>
            </a:r>
          </a:p>
        </p:txBody>
      </p:sp>
      <p:sp>
        <p:nvSpPr>
          <p:cNvPr id="17" name="Rounded Rectangle 16"/>
          <p:cNvSpPr/>
          <p:nvPr/>
        </p:nvSpPr>
        <p:spPr bwMode="auto">
          <a:xfrm>
            <a:off x="6560287" y="3612451"/>
            <a:ext cx="2464955" cy="942708"/>
          </a:xfrm>
          <a:prstGeom prst="roundRect">
            <a:avLst/>
          </a:prstGeom>
          <a:solidFill>
            <a:srgbClr val="FF99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High W</a:t>
            </a:r>
            <a:r>
              <a:rPr lang="en-US" sz="1600" b="1" dirty="0" smtClean="0">
                <a:solidFill>
                  <a:schemeClr val="bg1"/>
                </a:solidFill>
              </a:rPr>
              <a:t>ater </a:t>
            </a:r>
            <a:r>
              <a:rPr lang="en-US" sz="1600" b="1" dirty="0">
                <a:solidFill>
                  <a:schemeClr val="bg1"/>
                </a:solidFill>
              </a:rPr>
              <a:t>C</a:t>
            </a:r>
            <a:r>
              <a:rPr lang="en-US" sz="1600" b="1" dirty="0" smtClean="0">
                <a:solidFill>
                  <a:schemeClr val="bg1"/>
                </a:solidFill>
              </a:rPr>
              <a:t>onsumption </a:t>
            </a:r>
            <a:r>
              <a:rPr lang="en-US" sz="1600" b="1" dirty="0">
                <a:solidFill>
                  <a:schemeClr val="bg1"/>
                </a:solidFill>
              </a:rPr>
              <a:t>at </a:t>
            </a:r>
            <a:r>
              <a:rPr lang="en-US" sz="1600" b="1" dirty="0" smtClean="0">
                <a:solidFill>
                  <a:schemeClr val="bg1"/>
                </a:solidFill>
              </a:rPr>
              <a:t>Wash </a:t>
            </a:r>
            <a:r>
              <a:rPr lang="en-US" sz="1600" b="1" dirty="0">
                <a:solidFill>
                  <a:schemeClr val="bg1"/>
                </a:solidFill>
              </a:rPr>
              <a:t>R</a:t>
            </a:r>
            <a:r>
              <a:rPr lang="en-US" sz="1600" b="1" dirty="0" smtClean="0">
                <a:solidFill>
                  <a:schemeClr val="bg1"/>
                </a:solidFill>
              </a:rPr>
              <a:t>ooms </a:t>
            </a:r>
            <a:r>
              <a:rPr lang="en-US" sz="1600" b="1" dirty="0">
                <a:solidFill>
                  <a:schemeClr val="bg1"/>
                </a:solidFill>
              </a:rPr>
              <a:t>&amp; </a:t>
            </a:r>
            <a:r>
              <a:rPr lang="en-US" sz="1600" b="1" dirty="0" smtClean="0">
                <a:solidFill>
                  <a:schemeClr val="bg1"/>
                </a:solidFill>
              </a:rPr>
              <a:t>Cafeteria</a:t>
            </a:r>
            <a:endParaRPr lang="en-US" sz="1600" b="1" dirty="0">
              <a:solidFill>
                <a:schemeClr val="bg1"/>
              </a:solidFill>
            </a:endParaRPr>
          </a:p>
          <a:p>
            <a:pPr algn="ctr"/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91470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8" name="Title 1"/>
          <p:cNvSpPr txBox="1">
            <a:spLocks/>
          </p:cNvSpPr>
          <p:nvPr/>
        </p:nvSpPr>
        <p:spPr>
          <a:xfrm>
            <a:off x="1007698" y="346346"/>
            <a:ext cx="2840620" cy="41717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000" kern="0" dirty="0" smtClean="0">
                <a:solidFill>
                  <a:srgbClr val="2875CA"/>
                </a:solidFill>
                <a:latin typeface="Britannic Bold" pitchFamily="34" charset="0"/>
              </a:rPr>
              <a:t>Analysis</a:t>
            </a:r>
            <a:endParaRPr lang="en-US" sz="2000" kern="0" dirty="0">
              <a:solidFill>
                <a:srgbClr val="2875CA"/>
              </a:solidFill>
              <a:latin typeface="Britannic Bold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2875CA"/>
              </a:solidFill>
              <a:effectLst/>
              <a:uLnTx/>
              <a:uFillTx/>
              <a:latin typeface="Britannic Bold" pitchFamily="34" charset="0"/>
              <a:ea typeface="+mj-ea"/>
              <a:cs typeface="+mj-cs"/>
            </a:endParaRPr>
          </a:p>
        </p:txBody>
      </p:sp>
      <p:grpSp>
        <p:nvGrpSpPr>
          <p:cNvPr id="49" name="Group 48"/>
          <p:cNvGrpSpPr/>
          <p:nvPr/>
        </p:nvGrpSpPr>
        <p:grpSpPr>
          <a:xfrm rot="264182">
            <a:off x="86596" y="91470"/>
            <a:ext cx="777240" cy="777240"/>
            <a:chOff x="3728638" y="1092389"/>
            <a:chExt cx="914400" cy="914400"/>
          </a:xfrm>
        </p:grpSpPr>
        <p:grpSp>
          <p:nvGrpSpPr>
            <p:cNvPr id="50" name="Group 49"/>
            <p:cNvGrpSpPr/>
            <p:nvPr/>
          </p:nvGrpSpPr>
          <p:grpSpPr>
            <a:xfrm>
              <a:off x="3728638" y="1092389"/>
              <a:ext cx="914400" cy="914400"/>
              <a:chOff x="2378075" y="502896"/>
              <a:chExt cx="2066925" cy="2066925"/>
            </a:xfrm>
          </p:grpSpPr>
          <p:grpSp>
            <p:nvGrpSpPr>
              <p:cNvPr id="52" name="Group 28"/>
              <p:cNvGrpSpPr>
                <a:grpSpLocks/>
              </p:cNvGrpSpPr>
              <p:nvPr/>
            </p:nvGrpSpPr>
            <p:grpSpPr bwMode="auto">
              <a:xfrm>
                <a:off x="2378075" y="502896"/>
                <a:ext cx="2066925" cy="2066925"/>
                <a:chOff x="2333625" y="219075"/>
                <a:chExt cx="2066236" cy="2066236"/>
              </a:xfrm>
            </p:grpSpPr>
            <p:grpSp>
              <p:nvGrpSpPr>
                <p:cNvPr id="58" name="Group 154"/>
                <p:cNvGrpSpPr>
                  <a:grpSpLocks/>
                </p:cNvGrpSpPr>
                <p:nvPr/>
              </p:nvGrpSpPr>
              <p:grpSpPr bwMode="auto">
                <a:xfrm>
                  <a:off x="2333625" y="219075"/>
                  <a:ext cx="2066236" cy="2066236"/>
                  <a:chOff x="2844111" y="1118742"/>
                  <a:chExt cx="3508375" cy="3508375"/>
                </a:xfrm>
              </p:grpSpPr>
              <p:sp>
                <p:nvSpPr>
                  <p:cNvPr id="60" name="Freeform 6"/>
                  <p:cNvSpPr>
                    <a:spLocks noEditPoints="1"/>
                  </p:cNvSpPr>
                  <p:nvPr>
                    <p:custDataLst>
                      <p:tags r:id="rId1"/>
                    </p:custDataLst>
                  </p:nvPr>
                </p:nvSpPr>
                <p:spPr bwMode="gray">
                  <a:xfrm rot="3600000">
                    <a:off x="2844111" y="1118742"/>
                    <a:ext cx="3508375" cy="3508375"/>
                  </a:xfrm>
                  <a:custGeom>
                    <a:avLst/>
                    <a:gdLst/>
                    <a:ahLst/>
                    <a:cxnLst>
                      <a:cxn ang="0">
                        <a:pos x="292" y="0"/>
                      </a:cxn>
                      <a:cxn ang="0">
                        <a:pos x="0" y="293"/>
                      </a:cxn>
                      <a:cxn ang="0">
                        <a:pos x="292" y="585"/>
                      </a:cxn>
                      <a:cxn ang="0">
                        <a:pos x="585" y="293"/>
                      </a:cxn>
                      <a:cxn ang="0">
                        <a:pos x="292" y="0"/>
                      </a:cxn>
                      <a:cxn ang="0">
                        <a:pos x="292" y="539"/>
                      </a:cxn>
                      <a:cxn ang="0">
                        <a:pos x="46" y="293"/>
                      </a:cxn>
                      <a:cxn ang="0">
                        <a:pos x="292" y="46"/>
                      </a:cxn>
                      <a:cxn ang="0">
                        <a:pos x="539" y="293"/>
                      </a:cxn>
                      <a:cxn ang="0">
                        <a:pos x="292" y="539"/>
                      </a:cxn>
                    </a:cxnLst>
                    <a:rect l="0" t="0" r="r" b="b"/>
                    <a:pathLst>
                      <a:path w="585" h="585">
                        <a:moveTo>
                          <a:pt x="292" y="0"/>
                        </a:moveTo>
                        <a:cubicBezTo>
                          <a:pt x="131" y="0"/>
                          <a:pt x="0" y="131"/>
                          <a:pt x="0" y="293"/>
                        </a:cubicBezTo>
                        <a:cubicBezTo>
                          <a:pt x="0" y="454"/>
                          <a:pt x="131" y="585"/>
                          <a:pt x="292" y="585"/>
                        </a:cubicBezTo>
                        <a:cubicBezTo>
                          <a:pt x="454" y="585"/>
                          <a:pt x="585" y="454"/>
                          <a:pt x="585" y="293"/>
                        </a:cubicBezTo>
                        <a:cubicBezTo>
                          <a:pt x="585" y="131"/>
                          <a:pt x="454" y="0"/>
                          <a:pt x="292" y="0"/>
                        </a:cubicBezTo>
                        <a:close/>
                        <a:moveTo>
                          <a:pt x="292" y="539"/>
                        </a:moveTo>
                        <a:cubicBezTo>
                          <a:pt x="156" y="539"/>
                          <a:pt x="46" y="429"/>
                          <a:pt x="46" y="293"/>
                        </a:cubicBezTo>
                        <a:cubicBezTo>
                          <a:pt x="46" y="156"/>
                          <a:pt x="156" y="46"/>
                          <a:pt x="292" y="46"/>
                        </a:cubicBezTo>
                        <a:cubicBezTo>
                          <a:pt x="429" y="46"/>
                          <a:pt x="539" y="156"/>
                          <a:pt x="539" y="293"/>
                        </a:cubicBezTo>
                        <a:cubicBezTo>
                          <a:pt x="539" y="429"/>
                          <a:pt x="429" y="539"/>
                          <a:pt x="292" y="539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4"/>
                  </a:lnRef>
                  <a:fillRef idx="3">
                    <a:schemeClr val="accent4"/>
                  </a:fillRef>
                  <a:effectRef idx="3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sz="900"/>
                  </a:p>
                </p:txBody>
              </p:sp>
              <p:sp>
                <p:nvSpPr>
                  <p:cNvPr id="61" name="Ellipse 12"/>
                  <p:cNvSpPr>
                    <a:spLocks noChangeArrowheads="1"/>
                  </p:cNvSpPr>
                  <p:nvPr/>
                </p:nvSpPr>
                <p:spPr bwMode="auto">
                  <a:xfrm>
                    <a:off x="3948899" y="2247780"/>
                    <a:ext cx="1279938" cy="127993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353637"/>
                      </a:gs>
                      <a:gs pos="100000">
                        <a:srgbClr val="151616"/>
                      </a:gs>
                    </a:gsLst>
                    <a:path path="shape">
                      <a:fillToRect l="50000" t="50000" r="50000" b="50000"/>
                    </a:path>
                  </a:gradFill>
                  <a:ln w="9525">
                    <a:solidFill>
                      <a:srgbClr val="191919"/>
                    </a:solidFill>
                    <a:round/>
                    <a:headEnd/>
                    <a:tailEnd/>
                  </a:ln>
                  <a:effectLst>
                    <a:outerShdw dist="23000" dir="5400000" rotWithShape="0">
                      <a:srgbClr val="808080">
                        <a:alpha val="34999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latin typeface="Calibri" charset="0"/>
                    </a:endParaRPr>
                  </a:p>
                </p:txBody>
              </p:sp>
              <p:sp>
                <p:nvSpPr>
                  <p:cNvPr id="62" name="Ellipse 13"/>
                  <p:cNvSpPr/>
                  <p:nvPr/>
                </p:nvSpPr>
                <p:spPr bwMode="auto">
                  <a:xfrm>
                    <a:off x="4118660" y="2304368"/>
                    <a:ext cx="940416" cy="692512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tx2">
                          <a:lumMod val="40000"/>
                          <a:lumOff val="60000"/>
                          <a:alpha val="0"/>
                        </a:schemeClr>
                      </a:gs>
                      <a:gs pos="100000">
                        <a:schemeClr val="bg1">
                          <a:alpha val="77000"/>
                        </a:schemeClr>
                      </a:gs>
                    </a:gsLst>
                    <a:lin ang="162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ea typeface="ＭＳ Ｐゴシック" charset="-128"/>
                    </a:endParaRPr>
                  </a:p>
                </p:txBody>
              </p:sp>
              <p:sp>
                <p:nvSpPr>
                  <p:cNvPr id="63" name="Block Arc 62"/>
                  <p:cNvSpPr/>
                  <p:nvPr/>
                </p:nvSpPr>
                <p:spPr>
                  <a:xfrm rot="18729919">
                    <a:off x="3230788" y="1508111"/>
                    <a:ext cx="2726940" cy="2729633"/>
                  </a:xfrm>
                  <a:prstGeom prst="blockArc">
                    <a:avLst>
                      <a:gd name="adj1" fmla="val 574634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900"/>
                  </a:p>
                </p:txBody>
              </p:sp>
              <p:sp>
                <p:nvSpPr>
                  <p:cNvPr id="64" name="Block Arc 63"/>
                  <p:cNvSpPr/>
                  <p:nvPr/>
                </p:nvSpPr>
                <p:spPr>
                  <a:xfrm rot="1352524">
                    <a:off x="3229440" y="1509459"/>
                    <a:ext cx="2729633" cy="2726940"/>
                  </a:xfrm>
                  <a:prstGeom prst="blockArc">
                    <a:avLst>
                      <a:gd name="adj1" fmla="val 596470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65" name="Block Arc 64"/>
                  <p:cNvSpPr/>
                  <p:nvPr/>
                </p:nvSpPr>
                <p:spPr>
                  <a:xfrm rot="5869595">
                    <a:off x="3230788" y="1508111"/>
                    <a:ext cx="2726940" cy="2729633"/>
                  </a:xfrm>
                  <a:prstGeom prst="blockArc">
                    <a:avLst>
                      <a:gd name="adj1" fmla="val 5627424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66" name="Block Arc 65"/>
                  <p:cNvSpPr/>
                  <p:nvPr/>
                </p:nvSpPr>
                <p:spPr>
                  <a:xfrm rot="10291675">
                    <a:off x="3229440" y="1509459"/>
                    <a:ext cx="2729633" cy="2726940"/>
                  </a:xfrm>
                  <a:prstGeom prst="blockArc">
                    <a:avLst>
                      <a:gd name="adj1" fmla="val 5803831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67" name="Block Arc 66"/>
                  <p:cNvSpPr/>
                  <p:nvPr/>
                </p:nvSpPr>
                <p:spPr>
                  <a:xfrm rot="14301489">
                    <a:off x="3230788" y="1508111"/>
                    <a:ext cx="2726940" cy="2729633"/>
                  </a:xfrm>
                  <a:prstGeom prst="blockArc">
                    <a:avLst>
                      <a:gd name="adj1" fmla="val 6140645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</p:grpSp>
            <p:sp>
              <p:nvSpPr>
                <p:cNvPr id="59" name="Ellipse 15"/>
                <p:cNvSpPr/>
                <p:nvPr/>
              </p:nvSpPr>
              <p:spPr bwMode="auto">
                <a:xfrm>
                  <a:off x="2763695" y="465055"/>
                  <a:ext cx="1237837" cy="91568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900" dirty="0"/>
                </a:p>
              </p:txBody>
            </p:sp>
          </p:grpSp>
          <p:sp>
            <p:nvSpPr>
              <p:cNvPr id="53" name="TextBox 29"/>
              <p:cNvSpPr txBox="1">
                <a:spLocks noChangeArrowheads="1"/>
              </p:cNvSpPr>
              <p:nvPr/>
            </p:nvSpPr>
            <p:spPr bwMode="auto">
              <a:xfrm>
                <a:off x="2754110" y="771753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D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54" name="TextBox 29"/>
              <p:cNvSpPr txBox="1">
                <a:spLocks noChangeArrowheads="1"/>
              </p:cNvSpPr>
              <p:nvPr/>
            </p:nvSpPr>
            <p:spPr bwMode="auto">
              <a:xfrm>
                <a:off x="2584640" y="1514847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M</a:t>
                </a:r>
              </a:p>
            </p:txBody>
          </p:sp>
          <p:sp>
            <p:nvSpPr>
              <p:cNvPr id="55" name="TextBox 29"/>
              <p:cNvSpPr txBox="1">
                <a:spLocks noChangeArrowheads="1"/>
              </p:cNvSpPr>
              <p:nvPr/>
            </p:nvSpPr>
            <p:spPr bwMode="auto">
              <a:xfrm>
                <a:off x="3253164" y="1880209"/>
                <a:ext cx="289718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A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56" name="TextBox 29"/>
              <p:cNvSpPr txBox="1">
                <a:spLocks noChangeArrowheads="1"/>
              </p:cNvSpPr>
              <p:nvPr/>
            </p:nvSpPr>
            <p:spPr bwMode="auto">
              <a:xfrm>
                <a:off x="3844923" y="13567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I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57" name="TextBox 29"/>
              <p:cNvSpPr txBox="1">
                <a:spLocks noChangeArrowheads="1"/>
              </p:cNvSpPr>
              <p:nvPr/>
            </p:nvSpPr>
            <p:spPr bwMode="auto">
              <a:xfrm>
                <a:off x="3487620" y="7158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C</a:t>
                </a:r>
              </a:p>
            </p:txBody>
          </p:sp>
        </p:grpSp>
        <p:sp>
          <p:nvSpPr>
            <p:cNvPr id="51" name="TextBox 29"/>
            <p:cNvSpPr txBox="1">
              <a:spLocks noChangeArrowheads="1"/>
            </p:cNvSpPr>
            <p:nvPr/>
          </p:nvSpPr>
          <p:spPr bwMode="auto">
            <a:xfrm rot="21335818">
              <a:off x="4056376" y="1352947"/>
              <a:ext cx="128171" cy="398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da-DK" sz="1600" b="1" dirty="0" smtClean="0">
                  <a:solidFill>
                    <a:schemeClr val="bg1"/>
                  </a:solidFill>
                </a:rPr>
                <a:t>A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0" y="1066531"/>
            <a:ext cx="9144000" cy="464557"/>
            <a:chOff x="0" y="0"/>
            <a:chExt cx="9144000" cy="556968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71" name="Rectangle 70"/>
            <p:cNvSpPr/>
            <p:nvPr/>
          </p:nvSpPr>
          <p:spPr>
            <a:xfrm>
              <a:off x="0" y="0"/>
              <a:ext cx="9144000" cy="556968"/>
            </a:xfrm>
            <a:prstGeom prst="rect">
              <a:avLst/>
            </a:prstGeom>
            <a:sp3d prstMaterial="plastic">
              <a:bevelT w="127000" h="25400" prst="relaxedInset"/>
              <a:bevelB w="88900" h="121750" prst="angle"/>
            </a:sp3d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shade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shade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2" name="Rectangle 71"/>
            <p:cNvSpPr/>
            <p:nvPr/>
          </p:nvSpPr>
          <p:spPr>
            <a:xfrm>
              <a:off x="0" y="0"/>
              <a:ext cx="9144000" cy="55696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Aft>
                  <a:spcPct val="35000"/>
                </a:spcAft>
              </a:pPr>
              <a:r>
                <a:rPr lang="en-US" sz="2400" dirty="0" smtClean="0"/>
                <a:t>Cause </a:t>
              </a:r>
              <a:r>
                <a:rPr lang="en-US" sz="2400" dirty="0"/>
                <a:t>&amp; Effect </a:t>
              </a:r>
              <a:r>
                <a:rPr lang="en-US" sz="2400" dirty="0" smtClean="0"/>
                <a:t>Analysis-Potable </a:t>
              </a:r>
              <a:r>
                <a:rPr lang="en-US" sz="2400" dirty="0"/>
                <a:t>Wat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xmlns="" val="38760640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Picture 45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8336" b="16622"/>
          <a:stretch/>
        </p:blipFill>
        <p:spPr>
          <a:xfrm>
            <a:off x="0" y="2235397"/>
            <a:ext cx="9144000" cy="4622603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72308" y="1660865"/>
            <a:ext cx="2410691" cy="4524315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8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b="1" dirty="0"/>
              <a:t>Causes:</a:t>
            </a:r>
          </a:p>
          <a:p>
            <a:pPr marL="342900" indent="-342900">
              <a:buAutoNum type="arabicPeriod"/>
            </a:pPr>
            <a:r>
              <a:rPr lang="en-US" dirty="0" smtClean="0"/>
              <a:t>Water </a:t>
            </a:r>
            <a:r>
              <a:rPr lang="en-US" dirty="0"/>
              <a:t>leakage at production </a:t>
            </a:r>
            <a:r>
              <a:rPr lang="en-US" dirty="0" smtClean="0"/>
              <a:t>floor</a:t>
            </a:r>
          </a:p>
          <a:p>
            <a:pPr marL="342900" indent="-342900">
              <a:buFontTx/>
              <a:buAutoNum type="arabicPeriod"/>
            </a:pPr>
            <a:r>
              <a:rPr lang="en-US" dirty="0"/>
              <a:t>Low efficiency DI </a:t>
            </a:r>
            <a:r>
              <a:rPr lang="en-US" dirty="0" smtClean="0"/>
              <a:t>system</a:t>
            </a:r>
          </a:p>
          <a:p>
            <a:pPr marL="342900" indent="-342900">
              <a:buFontTx/>
              <a:buAutoNum type="arabicPeriod"/>
            </a:pPr>
            <a:r>
              <a:rPr lang="en-US" dirty="0"/>
              <a:t>No waste water </a:t>
            </a:r>
            <a:r>
              <a:rPr lang="en-US" dirty="0" smtClean="0"/>
              <a:t>reclaim</a:t>
            </a:r>
          </a:p>
          <a:p>
            <a:pPr marL="342900" indent="-342900">
              <a:buFontTx/>
              <a:buAutoNum type="arabicPeriod"/>
            </a:pPr>
            <a:r>
              <a:rPr lang="en-US" dirty="0"/>
              <a:t>Leakage at water </a:t>
            </a:r>
            <a:r>
              <a:rPr lang="en-US" dirty="0" smtClean="0"/>
              <a:t>fixtures</a:t>
            </a:r>
          </a:p>
          <a:p>
            <a:pPr marL="342900" indent="-342900">
              <a:buFontTx/>
              <a:buAutoNum type="arabicPeriod"/>
            </a:pPr>
            <a:r>
              <a:rPr lang="en-US" dirty="0"/>
              <a:t>High flow rate at water </a:t>
            </a:r>
            <a:r>
              <a:rPr lang="en-US" dirty="0" smtClean="0"/>
              <a:t>tap</a:t>
            </a:r>
          </a:p>
          <a:p>
            <a:pPr marL="342900" indent="-342900">
              <a:buFontTx/>
              <a:buAutoNum type="arabicPeriod"/>
            </a:pPr>
            <a:r>
              <a:rPr lang="en-US" dirty="0" smtClean="0"/>
              <a:t>L</a:t>
            </a:r>
            <a:r>
              <a:rPr lang="en-US" dirty="0"/>
              <a:t>ack of communication/</a:t>
            </a:r>
          </a:p>
          <a:p>
            <a:pPr algn="ctr"/>
            <a:r>
              <a:rPr lang="en-US" dirty="0" smtClean="0"/>
              <a:t>  feedback channel</a:t>
            </a:r>
          </a:p>
          <a:p>
            <a:pPr marL="342900" indent="-342900">
              <a:buAutoNum type="arabicPeriod" startAt="7"/>
            </a:pPr>
            <a:r>
              <a:rPr lang="en-US" dirty="0" smtClean="0"/>
              <a:t>Cafeteria </a:t>
            </a:r>
            <a:r>
              <a:rPr lang="en-US" dirty="0"/>
              <a:t>staff lack </a:t>
            </a:r>
            <a:r>
              <a:rPr lang="en-US" dirty="0" smtClean="0"/>
              <a:t>awareness</a:t>
            </a:r>
            <a:endParaRPr lang="en-US" dirty="0"/>
          </a:p>
        </p:txBody>
      </p:sp>
      <p:sp>
        <p:nvSpPr>
          <p:cNvPr id="12" name="TextBox 11"/>
          <p:cNvSpPr txBox="1"/>
          <p:nvPr/>
        </p:nvSpPr>
        <p:spPr>
          <a:xfrm>
            <a:off x="6596015" y="1937863"/>
            <a:ext cx="2458467" cy="3970318"/>
          </a:xfrm>
          <a:prstGeom prst="rect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>
            <a:defPPr>
              <a:defRPr lang="en-US"/>
            </a:defPPr>
            <a:lvl1pPr>
              <a:defRPr sz="18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en-US" b="1" dirty="0"/>
              <a:t>Solutions:</a:t>
            </a:r>
          </a:p>
          <a:p>
            <a:pPr marL="342900" indent="-342900">
              <a:buAutoNum type="arabicPeriod"/>
            </a:pPr>
            <a:r>
              <a:rPr lang="en-US" dirty="0" smtClean="0"/>
              <a:t>Tap </a:t>
            </a:r>
            <a:r>
              <a:rPr lang="en-US" dirty="0"/>
              <a:t>on PUB </a:t>
            </a:r>
            <a:r>
              <a:rPr lang="en-US" dirty="0" smtClean="0"/>
              <a:t>fund</a:t>
            </a:r>
          </a:p>
          <a:p>
            <a:pPr marL="342900" indent="-342900">
              <a:buAutoNum type="arabicPeriod"/>
            </a:pPr>
            <a:r>
              <a:rPr lang="en-US" dirty="0" smtClean="0"/>
              <a:t>Partnering </a:t>
            </a:r>
            <a:r>
              <a:rPr lang="en-US" dirty="0"/>
              <a:t>with vendor on waste water </a:t>
            </a:r>
            <a:r>
              <a:rPr lang="en-US" dirty="0" smtClean="0"/>
              <a:t>reclaim</a:t>
            </a:r>
          </a:p>
          <a:p>
            <a:pPr marL="342900" indent="-342900">
              <a:buAutoNum type="arabicPeriod"/>
            </a:pPr>
            <a:r>
              <a:rPr lang="en-US" dirty="0"/>
              <a:t>S</a:t>
            </a:r>
            <a:r>
              <a:rPr lang="en-US" dirty="0" smtClean="0"/>
              <a:t>ystem </a:t>
            </a:r>
            <a:r>
              <a:rPr lang="en-US" dirty="0"/>
              <a:t>efficiency </a:t>
            </a:r>
            <a:r>
              <a:rPr lang="en-US" dirty="0" smtClean="0"/>
              <a:t>improvement</a:t>
            </a:r>
          </a:p>
          <a:p>
            <a:pPr marL="342900" indent="-342900">
              <a:buAutoNum type="arabicPeriod"/>
            </a:pPr>
            <a:r>
              <a:rPr lang="en-US" dirty="0" smtClean="0"/>
              <a:t>Install </a:t>
            </a:r>
            <a:r>
              <a:rPr lang="en-US" dirty="0"/>
              <a:t>leak detection </a:t>
            </a:r>
            <a:r>
              <a:rPr lang="en-US" dirty="0" smtClean="0"/>
              <a:t>system</a:t>
            </a:r>
          </a:p>
          <a:p>
            <a:pPr marL="342900" indent="-342900">
              <a:buAutoNum type="arabicPeriod"/>
            </a:pPr>
            <a:r>
              <a:rPr lang="en-US" dirty="0" smtClean="0"/>
              <a:t>Improve awareness</a:t>
            </a:r>
          </a:p>
          <a:p>
            <a:pPr marL="342900" indent="-342900">
              <a:buAutoNum type="arabicPeriod"/>
            </a:pPr>
            <a:r>
              <a:rPr lang="en-US" dirty="0" smtClean="0"/>
              <a:t>Proper </a:t>
            </a:r>
            <a:r>
              <a:rPr lang="en-US" dirty="0"/>
              <a:t>consumption tracking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377938" y="4906096"/>
            <a:ext cx="2499204" cy="1815882"/>
          </a:xfrm>
          <a:prstGeom prst="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b="1" dirty="0" smtClean="0"/>
              <a:t>The Lumileds Attitude</a:t>
            </a:r>
          </a:p>
          <a:p>
            <a:r>
              <a:rPr lang="en-US" sz="1600" dirty="0" smtClean="0"/>
              <a:t> - Make never before  </a:t>
            </a:r>
          </a:p>
          <a:p>
            <a:r>
              <a:rPr lang="en-US" sz="1600" dirty="0"/>
              <a:t> </a:t>
            </a:r>
            <a:r>
              <a:rPr lang="en-US" sz="1600" dirty="0" smtClean="0"/>
              <a:t>  possible, possible.</a:t>
            </a:r>
          </a:p>
          <a:p>
            <a:r>
              <a:rPr lang="en-US" sz="1600" dirty="0"/>
              <a:t> - What </a:t>
            </a:r>
            <a:r>
              <a:rPr lang="en-US" sz="1600" dirty="0" smtClean="0"/>
              <a:t>can I do better?</a:t>
            </a:r>
          </a:p>
          <a:p>
            <a:r>
              <a:rPr lang="en-US" sz="1600" dirty="0"/>
              <a:t> - Accept </a:t>
            </a:r>
            <a:r>
              <a:rPr lang="en-US" sz="1600" dirty="0" smtClean="0"/>
              <a:t>responsibility </a:t>
            </a:r>
          </a:p>
          <a:p>
            <a:r>
              <a:rPr lang="en-US" sz="1600" dirty="0"/>
              <a:t> </a:t>
            </a:r>
            <a:r>
              <a:rPr lang="en-US" sz="1600" dirty="0" smtClean="0"/>
              <a:t>  and take bold action.</a:t>
            </a:r>
          </a:p>
          <a:p>
            <a:r>
              <a:rPr lang="en-US" sz="1600" dirty="0" smtClean="0"/>
              <a:t>- </a:t>
            </a:r>
            <a:r>
              <a:rPr lang="en-US" sz="1600" dirty="0"/>
              <a:t>Have </a:t>
            </a:r>
            <a:r>
              <a:rPr lang="en-US" sz="1600" dirty="0" smtClean="0"/>
              <a:t>fun</a:t>
            </a:r>
            <a:endParaRPr lang="en-US" sz="1600" dirty="0"/>
          </a:p>
        </p:txBody>
      </p:sp>
      <p:sp>
        <p:nvSpPr>
          <p:cNvPr id="16" name="TextBox 15"/>
          <p:cNvSpPr txBox="1"/>
          <p:nvPr/>
        </p:nvSpPr>
        <p:spPr>
          <a:xfrm>
            <a:off x="3454576" y="808429"/>
            <a:ext cx="2422566" cy="1077218"/>
          </a:xfrm>
          <a:prstGeom prst="rect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b="1" dirty="0" smtClean="0"/>
              <a:t>Philips Behaviors:</a:t>
            </a:r>
          </a:p>
          <a:p>
            <a:r>
              <a:rPr lang="en-US" sz="1600" dirty="0" smtClean="0"/>
              <a:t>- Eager to win</a:t>
            </a:r>
          </a:p>
          <a:p>
            <a:r>
              <a:rPr lang="en-US" sz="1600" dirty="0" smtClean="0"/>
              <a:t>- Take ownership</a:t>
            </a:r>
          </a:p>
          <a:p>
            <a:r>
              <a:rPr lang="en-US" sz="1600" dirty="0" smtClean="0"/>
              <a:t>- Team up to excel</a:t>
            </a:r>
            <a:endParaRPr lang="en-US" sz="1600" dirty="0"/>
          </a:p>
        </p:txBody>
      </p:sp>
      <p:grpSp>
        <p:nvGrpSpPr>
          <p:cNvPr id="8" name="Group 7"/>
          <p:cNvGrpSpPr/>
          <p:nvPr/>
        </p:nvGrpSpPr>
        <p:grpSpPr>
          <a:xfrm>
            <a:off x="3059784" y="2395662"/>
            <a:ext cx="3093631" cy="1918051"/>
            <a:chOff x="2888618" y="2104809"/>
            <a:chExt cx="3093631" cy="1918051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2888618" y="2104809"/>
              <a:ext cx="3093631" cy="1918051"/>
            </a:xfrm>
            <a:prstGeom prst="rect">
              <a:avLst/>
            </a:prstGeom>
            <a:ln/>
          </p:spPr>
        </p:pic>
        <p:sp>
          <p:nvSpPr>
            <p:cNvPr id="6" name="Rectangle 5"/>
            <p:cNvSpPr/>
            <p:nvPr/>
          </p:nvSpPr>
          <p:spPr>
            <a:xfrm>
              <a:off x="4128434" y="3331964"/>
              <a:ext cx="1423788" cy="400110"/>
            </a:xfrm>
            <a:prstGeom prst="rect">
              <a:avLst/>
            </a:prstGeom>
            <a:solidFill>
              <a:srgbClr val="FF9900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balanced" dir="t">
                <a:rot lat="0" lon="0" rev="8700000"/>
              </a:lightRig>
            </a:scene3d>
            <a:sp3d>
              <a:bevelT w="190500" h="38100"/>
            </a:sp3d>
          </p:spPr>
          <p:txBody>
            <a:bodyPr wrap="none">
              <a:spAutoFit/>
            </a:bodyPr>
            <a:lstStyle/>
            <a:p>
              <a:r>
                <a:rPr lang="en-US" dirty="0" smtClean="0"/>
                <a:t>Brainstorm</a:t>
              </a:r>
              <a:endParaRPr lang="en-US" dirty="0"/>
            </a:p>
          </p:txBody>
        </p:sp>
      </p:grpSp>
      <p:sp>
        <p:nvSpPr>
          <p:cNvPr id="14" name="Down Arrow 13"/>
          <p:cNvSpPr/>
          <p:nvPr/>
        </p:nvSpPr>
        <p:spPr bwMode="auto">
          <a:xfrm rot="10800000" flipV="1">
            <a:off x="4468463" y="2088294"/>
            <a:ext cx="318154" cy="589669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19" name="Down Arrow 18"/>
          <p:cNvSpPr/>
          <p:nvPr/>
        </p:nvSpPr>
        <p:spPr bwMode="auto">
          <a:xfrm flipV="1">
            <a:off x="4485516" y="4209330"/>
            <a:ext cx="318154" cy="589669"/>
          </a:xfrm>
          <a:prstGeom prst="downArrow">
            <a:avLst/>
          </a:prstGeom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20" name="Down Arrow 19"/>
          <p:cNvSpPr/>
          <p:nvPr/>
        </p:nvSpPr>
        <p:spPr bwMode="auto">
          <a:xfrm rot="5400000" flipV="1">
            <a:off x="6096812" y="3219599"/>
            <a:ext cx="318154" cy="589669"/>
          </a:xfrm>
          <a:prstGeom prst="downArrow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endParaRPr lang="en-US">
              <a:solidFill>
                <a:schemeClr val="lt1"/>
              </a:solidFill>
              <a:latin typeface="+mn-lt"/>
            </a:endParaRPr>
          </a:p>
        </p:txBody>
      </p:sp>
      <p:sp>
        <p:nvSpPr>
          <p:cNvPr id="21" name="Down Arrow 20"/>
          <p:cNvSpPr/>
          <p:nvPr/>
        </p:nvSpPr>
        <p:spPr bwMode="auto">
          <a:xfrm rot="16200000" flipV="1">
            <a:off x="2605872" y="3218931"/>
            <a:ext cx="318154" cy="589669"/>
          </a:xfrm>
          <a:prstGeom prst="downArrow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endParaRPr lang="en-US">
              <a:solidFill>
                <a:schemeClr val="lt1"/>
              </a:solidFill>
              <a:latin typeface="+mn-lt"/>
            </a:endParaRPr>
          </a:p>
        </p:txBody>
      </p:sp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91470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3" name="Title 1"/>
          <p:cNvSpPr txBox="1">
            <a:spLocks/>
          </p:cNvSpPr>
          <p:nvPr/>
        </p:nvSpPr>
        <p:spPr>
          <a:xfrm>
            <a:off x="1007698" y="346346"/>
            <a:ext cx="2840620" cy="41717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000" kern="0" dirty="0" smtClean="0">
                <a:solidFill>
                  <a:srgbClr val="2875CA"/>
                </a:solidFill>
                <a:latin typeface="Britannic Bold" pitchFamily="34" charset="0"/>
              </a:rPr>
              <a:t>Analysis</a:t>
            </a:r>
            <a:endParaRPr lang="en-US" sz="2000" kern="0" dirty="0">
              <a:solidFill>
                <a:srgbClr val="2875CA"/>
              </a:solidFill>
              <a:latin typeface="Britannic Bold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2875CA"/>
              </a:solidFill>
              <a:effectLst/>
              <a:uLnTx/>
              <a:uFillTx/>
              <a:latin typeface="Britannic Bold" pitchFamily="34" charset="0"/>
              <a:ea typeface="+mj-ea"/>
              <a:cs typeface="+mj-cs"/>
            </a:endParaRPr>
          </a:p>
        </p:txBody>
      </p:sp>
      <p:grpSp>
        <p:nvGrpSpPr>
          <p:cNvPr id="24" name="Group 23"/>
          <p:cNvGrpSpPr/>
          <p:nvPr/>
        </p:nvGrpSpPr>
        <p:grpSpPr>
          <a:xfrm rot="264182">
            <a:off x="86596" y="91470"/>
            <a:ext cx="777240" cy="777240"/>
            <a:chOff x="3728638" y="1092389"/>
            <a:chExt cx="914400" cy="914400"/>
          </a:xfrm>
        </p:grpSpPr>
        <p:grpSp>
          <p:nvGrpSpPr>
            <p:cNvPr id="25" name="Group 24"/>
            <p:cNvGrpSpPr/>
            <p:nvPr/>
          </p:nvGrpSpPr>
          <p:grpSpPr>
            <a:xfrm>
              <a:off x="3728638" y="1092389"/>
              <a:ext cx="914400" cy="914400"/>
              <a:chOff x="2378075" y="502896"/>
              <a:chExt cx="2066925" cy="2066925"/>
            </a:xfrm>
          </p:grpSpPr>
          <p:grpSp>
            <p:nvGrpSpPr>
              <p:cNvPr id="27" name="Group 28"/>
              <p:cNvGrpSpPr>
                <a:grpSpLocks/>
              </p:cNvGrpSpPr>
              <p:nvPr/>
            </p:nvGrpSpPr>
            <p:grpSpPr bwMode="auto">
              <a:xfrm>
                <a:off x="2378075" y="502896"/>
                <a:ext cx="2066925" cy="2066925"/>
                <a:chOff x="2333625" y="219075"/>
                <a:chExt cx="2066236" cy="2066236"/>
              </a:xfrm>
            </p:grpSpPr>
            <p:grpSp>
              <p:nvGrpSpPr>
                <p:cNvPr id="33" name="Group 154"/>
                <p:cNvGrpSpPr>
                  <a:grpSpLocks/>
                </p:cNvGrpSpPr>
                <p:nvPr/>
              </p:nvGrpSpPr>
              <p:grpSpPr bwMode="auto">
                <a:xfrm>
                  <a:off x="2333625" y="219075"/>
                  <a:ext cx="2066236" cy="2066236"/>
                  <a:chOff x="2844111" y="1118742"/>
                  <a:chExt cx="3508375" cy="3508375"/>
                </a:xfrm>
              </p:grpSpPr>
              <p:sp>
                <p:nvSpPr>
                  <p:cNvPr id="35" name="Freeform 6"/>
                  <p:cNvSpPr>
                    <a:spLocks noEditPoints="1"/>
                  </p:cNvSpPr>
                  <p:nvPr>
                    <p:custDataLst>
                      <p:tags r:id="rId1"/>
                    </p:custDataLst>
                  </p:nvPr>
                </p:nvSpPr>
                <p:spPr bwMode="gray">
                  <a:xfrm rot="3600000">
                    <a:off x="2844111" y="1118742"/>
                    <a:ext cx="3508375" cy="3508375"/>
                  </a:xfrm>
                  <a:custGeom>
                    <a:avLst/>
                    <a:gdLst/>
                    <a:ahLst/>
                    <a:cxnLst>
                      <a:cxn ang="0">
                        <a:pos x="292" y="0"/>
                      </a:cxn>
                      <a:cxn ang="0">
                        <a:pos x="0" y="293"/>
                      </a:cxn>
                      <a:cxn ang="0">
                        <a:pos x="292" y="585"/>
                      </a:cxn>
                      <a:cxn ang="0">
                        <a:pos x="585" y="293"/>
                      </a:cxn>
                      <a:cxn ang="0">
                        <a:pos x="292" y="0"/>
                      </a:cxn>
                      <a:cxn ang="0">
                        <a:pos x="292" y="539"/>
                      </a:cxn>
                      <a:cxn ang="0">
                        <a:pos x="46" y="293"/>
                      </a:cxn>
                      <a:cxn ang="0">
                        <a:pos x="292" y="46"/>
                      </a:cxn>
                      <a:cxn ang="0">
                        <a:pos x="539" y="293"/>
                      </a:cxn>
                      <a:cxn ang="0">
                        <a:pos x="292" y="539"/>
                      </a:cxn>
                    </a:cxnLst>
                    <a:rect l="0" t="0" r="r" b="b"/>
                    <a:pathLst>
                      <a:path w="585" h="585">
                        <a:moveTo>
                          <a:pt x="292" y="0"/>
                        </a:moveTo>
                        <a:cubicBezTo>
                          <a:pt x="131" y="0"/>
                          <a:pt x="0" y="131"/>
                          <a:pt x="0" y="293"/>
                        </a:cubicBezTo>
                        <a:cubicBezTo>
                          <a:pt x="0" y="454"/>
                          <a:pt x="131" y="585"/>
                          <a:pt x="292" y="585"/>
                        </a:cubicBezTo>
                        <a:cubicBezTo>
                          <a:pt x="454" y="585"/>
                          <a:pt x="585" y="454"/>
                          <a:pt x="585" y="293"/>
                        </a:cubicBezTo>
                        <a:cubicBezTo>
                          <a:pt x="585" y="131"/>
                          <a:pt x="454" y="0"/>
                          <a:pt x="292" y="0"/>
                        </a:cubicBezTo>
                        <a:close/>
                        <a:moveTo>
                          <a:pt x="292" y="539"/>
                        </a:moveTo>
                        <a:cubicBezTo>
                          <a:pt x="156" y="539"/>
                          <a:pt x="46" y="429"/>
                          <a:pt x="46" y="293"/>
                        </a:cubicBezTo>
                        <a:cubicBezTo>
                          <a:pt x="46" y="156"/>
                          <a:pt x="156" y="46"/>
                          <a:pt x="292" y="46"/>
                        </a:cubicBezTo>
                        <a:cubicBezTo>
                          <a:pt x="429" y="46"/>
                          <a:pt x="539" y="156"/>
                          <a:pt x="539" y="293"/>
                        </a:cubicBezTo>
                        <a:cubicBezTo>
                          <a:pt x="539" y="429"/>
                          <a:pt x="429" y="539"/>
                          <a:pt x="292" y="539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4"/>
                  </a:lnRef>
                  <a:fillRef idx="3">
                    <a:schemeClr val="accent4"/>
                  </a:fillRef>
                  <a:effectRef idx="3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sz="900"/>
                  </a:p>
                </p:txBody>
              </p:sp>
              <p:sp>
                <p:nvSpPr>
                  <p:cNvPr id="36" name="Ellipse 12"/>
                  <p:cNvSpPr>
                    <a:spLocks noChangeArrowheads="1"/>
                  </p:cNvSpPr>
                  <p:nvPr/>
                </p:nvSpPr>
                <p:spPr bwMode="auto">
                  <a:xfrm>
                    <a:off x="3948899" y="2247780"/>
                    <a:ext cx="1279938" cy="127993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353637"/>
                      </a:gs>
                      <a:gs pos="100000">
                        <a:srgbClr val="151616"/>
                      </a:gs>
                    </a:gsLst>
                    <a:path path="shape">
                      <a:fillToRect l="50000" t="50000" r="50000" b="50000"/>
                    </a:path>
                  </a:gradFill>
                  <a:ln w="9525">
                    <a:solidFill>
                      <a:srgbClr val="191919"/>
                    </a:solidFill>
                    <a:round/>
                    <a:headEnd/>
                    <a:tailEnd/>
                  </a:ln>
                  <a:effectLst>
                    <a:outerShdw dist="23000" dir="5400000" rotWithShape="0">
                      <a:srgbClr val="808080">
                        <a:alpha val="34999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latin typeface="Calibri" charset="0"/>
                    </a:endParaRPr>
                  </a:p>
                </p:txBody>
              </p:sp>
              <p:sp>
                <p:nvSpPr>
                  <p:cNvPr id="37" name="Ellipse 13"/>
                  <p:cNvSpPr/>
                  <p:nvPr/>
                </p:nvSpPr>
                <p:spPr bwMode="auto">
                  <a:xfrm>
                    <a:off x="4118660" y="2304368"/>
                    <a:ext cx="940416" cy="692512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tx2">
                          <a:lumMod val="40000"/>
                          <a:lumOff val="60000"/>
                          <a:alpha val="0"/>
                        </a:schemeClr>
                      </a:gs>
                      <a:gs pos="100000">
                        <a:schemeClr val="bg1">
                          <a:alpha val="77000"/>
                        </a:schemeClr>
                      </a:gs>
                    </a:gsLst>
                    <a:lin ang="162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ea typeface="ＭＳ Ｐゴシック" charset="-128"/>
                    </a:endParaRPr>
                  </a:p>
                </p:txBody>
              </p:sp>
              <p:sp>
                <p:nvSpPr>
                  <p:cNvPr id="38" name="Block Arc 37"/>
                  <p:cNvSpPr/>
                  <p:nvPr/>
                </p:nvSpPr>
                <p:spPr>
                  <a:xfrm rot="18729919">
                    <a:off x="3230788" y="1508111"/>
                    <a:ext cx="2726940" cy="2729633"/>
                  </a:xfrm>
                  <a:prstGeom prst="blockArc">
                    <a:avLst>
                      <a:gd name="adj1" fmla="val 574634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900"/>
                  </a:p>
                </p:txBody>
              </p:sp>
              <p:sp>
                <p:nvSpPr>
                  <p:cNvPr id="39" name="Block Arc 38"/>
                  <p:cNvSpPr/>
                  <p:nvPr/>
                </p:nvSpPr>
                <p:spPr>
                  <a:xfrm rot="1352524">
                    <a:off x="3229440" y="1509459"/>
                    <a:ext cx="2729633" cy="2726940"/>
                  </a:xfrm>
                  <a:prstGeom prst="blockArc">
                    <a:avLst>
                      <a:gd name="adj1" fmla="val 596470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0" name="Block Arc 39"/>
                  <p:cNvSpPr/>
                  <p:nvPr/>
                </p:nvSpPr>
                <p:spPr>
                  <a:xfrm rot="5869595">
                    <a:off x="3230788" y="1508111"/>
                    <a:ext cx="2726940" cy="2729633"/>
                  </a:xfrm>
                  <a:prstGeom prst="blockArc">
                    <a:avLst>
                      <a:gd name="adj1" fmla="val 5627424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1" name="Block Arc 40"/>
                  <p:cNvSpPr/>
                  <p:nvPr/>
                </p:nvSpPr>
                <p:spPr>
                  <a:xfrm rot="10291675">
                    <a:off x="3229440" y="1509459"/>
                    <a:ext cx="2729633" cy="2726940"/>
                  </a:xfrm>
                  <a:prstGeom prst="blockArc">
                    <a:avLst>
                      <a:gd name="adj1" fmla="val 5803831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2" name="Block Arc 41"/>
                  <p:cNvSpPr/>
                  <p:nvPr/>
                </p:nvSpPr>
                <p:spPr>
                  <a:xfrm rot="14301489">
                    <a:off x="3230788" y="1508111"/>
                    <a:ext cx="2726940" cy="2729633"/>
                  </a:xfrm>
                  <a:prstGeom prst="blockArc">
                    <a:avLst>
                      <a:gd name="adj1" fmla="val 6140645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</p:grpSp>
            <p:sp>
              <p:nvSpPr>
                <p:cNvPr id="34" name="Ellipse 15"/>
                <p:cNvSpPr/>
                <p:nvPr/>
              </p:nvSpPr>
              <p:spPr bwMode="auto">
                <a:xfrm>
                  <a:off x="2763695" y="465055"/>
                  <a:ext cx="1237837" cy="91568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900" dirty="0"/>
                </a:p>
              </p:txBody>
            </p:sp>
          </p:grpSp>
          <p:sp>
            <p:nvSpPr>
              <p:cNvPr id="28" name="TextBox 29"/>
              <p:cNvSpPr txBox="1">
                <a:spLocks noChangeArrowheads="1"/>
              </p:cNvSpPr>
              <p:nvPr/>
            </p:nvSpPr>
            <p:spPr bwMode="auto">
              <a:xfrm>
                <a:off x="2754110" y="771753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D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29" name="TextBox 29"/>
              <p:cNvSpPr txBox="1">
                <a:spLocks noChangeArrowheads="1"/>
              </p:cNvSpPr>
              <p:nvPr/>
            </p:nvSpPr>
            <p:spPr bwMode="auto">
              <a:xfrm>
                <a:off x="2584640" y="1514847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M</a:t>
                </a:r>
              </a:p>
            </p:txBody>
          </p:sp>
          <p:sp>
            <p:nvSpPr>
              <p:cNvPr id="30" name="TextBox 29"/>
              <p:cNvSpPr txBox="1">
                <a:spLocks noChangeArrowheads="1"/>
              </p:cNvSpPr>
              <p:nvPr/>
            </p:nvSpPr>
            <p:spPr bwMode="auto">
              <a:xfrm>
                <a:off x="3253164" y="1880209"/>
                <a:ext cx="289718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A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31" name="TextBox 29"/>
              <p:cNvSpPr txBox="1">
                <a:spLocks noChangeArrowheads="1"/>
              </p:cNvSpPr>
              <p:nvPr/>
            </p:nvSpPr>
            <p:spPr bwMode="auto">
              <a:xfrm>
                <a:off x="3844923" y="13567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I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32" name="TextBox 29"/>
              <p:cNvSpPr txBox="1">
                <a:spLocks noChangeArrowheads="1"/>
              </p:cNvSpPr>
              <p:nvPr/>
            </p:nvSpPr>
            <p:spPr bwMode="auto">
              <a:xfrm>
                <a:off x="3487620" y="7158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C</a:t>
                </a:r>
              </a:p>
            </p:txBody>
          </p:sp>
        </p:grpSp>
        <p:sp>
          <p:nvSpPr>
            <p:cNvPr id="26" name="TextBox 29"/>
            <p:cNvSpPr txBox="1">
              <a:spLocks noChangeArrowheads="1"/>
            </p:cNvSpPr>
            <p:nvPr/>
          </p:nvSpPr>
          <p:spPr bwMode="auto">
            <a:xfrm rot="21335818">
              <a:off x="4056376" y="1352947"/>
              <a:ext cx="128171" cy="398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da-DK" sz="1600" b="1" dirty="0" smtClean="0">
                  <a:solidFill>
                    <a:schemeClr val="bg1"/>
                  </a:solidFill>
                </a:rPr>
                <a:t>A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8095592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1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ntr" presetSubtype="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5" grpId="0" animBg="1"/>
      <p:bldP spid="16" grpId="0" animBg="1"/>
      <p:bldP spid="14" grpId="0" animBg="1"/>
      <p:bldP spid="19" grpId="0" animBg="1"/>
      <p:bldP spid="20" grpId="0" animBg="1"/>
      <p:bldP spid="2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819725"/>
            <a:ext cx="9144000" cy="6096000"/>
          </a:xfrm>
          <a:prstGeom prst="rect">
            <a:avLst/>
          </a:prstGeom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91470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5" name="Down Arrow 14"/>
          <p:cNvSpPr/>
          <p:nvPr/>
        </p:nvSpPr>
        <p:spPr>
          <a:xfrm>
            <a:off x="4019108" y="5222460"/>
            <a:ext cx="753601" cy="514201"/>
          </a:xfrm>
          <a:prstGeom prst="downArrow">
            <a:avLst/>
          </a:prstGeom>
          <a:scene3d>
            <a:camera prst="orthographicFront"/>
            <a:lightRig rig="flat" dir="t"/>
          </a:scene3d>
          <a:sp3d z="190500"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2">
              <a:tint val="40000"/>
              <a:hueOff val="0"/>
              <a:satOff val="0"/>
              <a:lumOff val="0"/>
              <a:alphaOff val="0"/>
            </a:schemeClr>
          </a:fillRef>
          <a:effectRef idx="3">
            <a:schemeClr val="accent2"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6" name="Freeform 15"/>
          <p:cNvSpPr/>
          <p:nvPr/>
        </p:nvSpPr>
        <p:spPr>
          <a:xfrm>
            <a:off x="684027" y="4981932"/>
            <a:ext cx="2776700" cy="904321"/>
          </a:xfrm>
          <a:custGeom>
            <a:avLst/>
            <a:gdLst>
              <a:gd name="connsiteX0" fmla="*/ 0 w 2776700"/>
              <a:gd name="connsiteY0" fmla="*/ 0 h 904321"/>
              <a:gd name="connsiteX1" fmla="*/ 2776700 w 2776700"/>
              <a:gd name="connsiteY1" fmla="*/ 0 h 904321"/>
              <a:gd name="connsiteX2" fmla="*/ 2776700 w 2776700"/>
              <a:gd name="connsiteY2" fmla="*/ 904321 h 904321"/>
              <a:gd name="connsiteX3" fmla="*/ 0 w 2776700"/>
              <a:gd name="connsiteY3" fmla="*/ 904321 h 904321"/>
              <a:gd name="connsiteX4" fmla="*/ 0 w 2776700"/>
              <a:gd name="connsiteY4" fmla="*/ 0 h 9043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776700" h="904321">
                <a:moveTo>
                  <a:pt x="0" y="0"/>
                </a:moveTo>
                <a:lnTo>
                  <a:pt x="2776700" y="0"/>
                </a:lnTo>
                <a:lnTo>
                  <a:pt x="2776700" y="904321"/>
                </a:lnTo>
                <a:lnTo>
                  <a:pt x="0" y="90432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28016" tIns="128016" rIns="128016" bIns="128016" numCol="1" spcCol="1270" anchor="ctr" anchorCtr="0">
            <a:noAutofit/>
          </a:bodyPr>
          <a:lstStyle/>
          <a:p>
            <a:pPr lvl="0" algn="ctr" defTabSz="8001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1800" b="1" kern="12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Freeform 16"/>
          <p:cNvSpPr/>
          <p:nvPr/>
        </p:nvSpPr>
        <p:spPr>
          <a:xfrm>
            <a:off x="4104010" y="3216603"/>
            <a:ext cx="1509981" cy="1302236"/>
          </a:xfrm>
          <a:custGeom>
            <a:avLst/>
            <a:gdLst>
              <a:gd name="connsiteX0" fmla="*/ 0 w 1509981"/>
              <a:gd name="connsiteY0" fmla="*/ 651118 h 1302236"/>
              <a:gd name="connsiteX1" fmla="*/ 754991 w 1509981"/>
              <a:gd name="connsiteY1" fmla="*/ 0 h 1302236"/>
              <a:gd name="connsiteX2" fmla="*/ 1509982 w 1509981"/>
              <a:gd name="connsiteY2" fmla="*/ 651118 h 1302236"/>
              <a:gd name="connsiteX3" fmla="*/ 754991 w 1509981"/>
              <a:gd name="connsiteY3" fmla="*/ 1302236 h 1302236"/>
              <a:gd name="connsiteX4" fmla="*/ 0 w 1509981"/>
              <a:gd name="connsiteY4" fmla="*/ 651118 h 13022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09981" h="1302236">
                <a:moveTo>
                  <a:pt x="0" y="651118"/>
                </a:moveTo>
                <a:cubicBezTo>
                  <a:pt x="0" y="291515"/>
                  <a:pt x="338021" y="0"/>
                  <a:pt x="754991" y="0"/>
                </a:cubicBezTo>
                <a:cubicBezTo>
                  <a:pt x="1171961" y="0"/>
                  <a:pt x="1509982" y="291515"/>
                  <a:pt x="1509982" y="651118"/>
                </a:cubicBezTo>
                <a:cubicBezTo>
                  <a:pt x="1509982" y="1010721"/>
                  <a:pt x="1171961" y="1302236"/>
                  <a:pt x="754991" y="1302236"/>
                </a:cubicBezTo>
                <a:cubicBezTo>
                  <a:pt x="338021" y="1302236"/>
                  <a:pt x="0" y="1010721"/>
                  <a:pt x="0" y="651118"/>
                </a:cubicBezTo>
                <a:close/>
              </a:path>
            </a:pathLst>
          </a:custGeom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2">
              <a:hueOff val="0"/>
              <a:satOff val="0"/>
              <a:lumOff val="0"/>
              <a:alphaOff val="0"/>
            </a:schemeClr>
          </a:fillRef>
          <a:effectRef idx="2">
            <a:schemeClr val="accent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38912" tIns="208488" rIns="238912" bIns="208488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400" b="1" kern="1200" dirty="0" smtClean="0">
                <a:solidFill>
                  <a:schemeClr val="bg1"/>
                </a:solidFill>
              </a:rPr>
              <a:t>Air Handling Units’ Condensate </a:t>
            </a:r>
            <a:endParaRPr lang="en-US" sz="1400" b="1" kern="1200" dirty="0">
              <a:solidFill>
                <a:schemeClr val="bg1"/>
              </a:solidFill>
            </a:endParaRPr>
          </a:p>
        </p:txBody>
      </p:sp>
      <p:sp>
        <p:nvSpPr>
          <p:cNvPr id="18" name="Freeform 17"/>
          <p:cNvSpPr/>
          <p:nvPr/>
        </p:nvSpPr>
        <p:spPr>
          <a:xfrm>
            <a:off x="2806995" y="2742340"/>
            <a:ext cx="1482214" cy="1303253"/>
          </a:xfrm>
          <a:custGeom>
            <a:avLst/>
            <a:gdLst>
              <a:gd name="connsiteX0" fmla="*/ 0 w 1482214"/>
              <a:gd name="connsiteY0" fmla="*/ 651627 h 1303253"/>
              <a:gd name="connsiteX1" fmla="*/ 741107 w 1482214"/>
              <a:gd name="connsiteY1" fmla="*/ 0 h 1303253"/>
              <a:gd name="connsiteX2" fmla="*/ 1482214 w 1482214"/>
              <a:gd name="connsiteY2" fmla="*/ 651627 h 1303253"/>
              <a:gd name="connsiteX3" fmla="*/ 741107 w 1482214"/>
              <a:gd name="connsiteY3" fmla="*/ 1303254 h 1303253"/>
              <a:gd name="connsiteX4" fmla="*/ 0 w 1482214"/>
              <a:gd name="connsiteY4" fmla="*/ 651627 h 13032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2214" h="1303253">
                <a:moveTo>
                  <a:pt x="0" y="651627"/>
                </a:moveTo>
                <a:cubicBezTo>
                  <a:pt x="0" y="291743"/>
                  <a:pt x="331805" y="0"/>
                  <a:pt x="741107" y="0"/>
                </a:cubicBezTo>
                <a:cubicBezTo>
                  <a:pt x="1150409" y="0"/>
                  <a:pt x="1482214" y="291743"/>
                  <a:pt x="1482214" y="651627"/>
                </a:cubicBezTo>
                <a:cubicBezTo>
                  <a:pt x="1482214" y="1011511"/>
                  <a:pt x="1150409" y="1303254"/>
                  <a:pt x="741107" y="1303254"/>
                </a:cubicBezTo>
                <a:cubicBezTo>
                  <a:pt x="331805" y="1303254"/>
                  <a:pt x="0" y="1011511"/>
                  <a:pt x="0" y="651627"/>
                </a:cubicBezTo>
                <a:close/>
              </a:path>
            </a:pathLst>
          </a:custGeom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3">
              <a:hueOff val="0"/>
              <a:satOff val="0"/>
              <a:lumOff val="0"/>
              <a:alphaOff val="0"/>
            </a:schemeClr>
          </a:fillRef>
          <a:effectRef idx="2">
            <a:schemeClr val="accent3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34845" tIns="208637" rIns="234845" bIns="208637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400" b="1" kern="1200" dirty="0" smtClean="0">
                <a:solidFill>
                  <a:schemeClr val="bg1"/>
                </a:solidFill>
              </a:rPr>
              <a:t>Thinning Process Waste Water</a:t>
            </a:r>
            <a:endParaRPr lang="en-US" sz="1400" b="1" kern="1200" dirty="0">
              <a:solidFill>
                <a:schemeClr val="bg1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2254104" y="1886328"/>
            <a:ext cx="4220166" cy="3376132"/>
            <a:chOff x="2239778" y="1852395"/>
            <a:chExt cx="4220166" cy="3376132"/>
          </a:xfrm>
        </p:grpSpPr>
        <p:sp>
          <p:nvSpPr>
            <p:cNvPr id="10" name="Oval 9"/>
            <p:cNvSpPr/>
            <p:nvPr/>
          </p:nvSpPr>
          <p:spPr>
            <a:xfrm>
              <a:off x="2384218" y="2000192"/>
              <a:ext cx="3888581" cy="1350453"/>
            </a:xfrm>
            <a:prstGeom prst="ellipse">
              <a:avLst/>
            </a:prstGeom>
            <a:scene3d>
              <a:camera prst="orthographicFront"/>
              <a:lightRig rig="flat" dir="t"/>
            </a:scene3d>
            <a:sp3d z="-190500" extrusionH="12700" prstMaterial="matte"/>
          </p:spPr>
          <p:style>
            <a:lnRef idx="0">
              <a:schemeClr val="accent2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tint val="50000"/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tint val="50000"/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" name="Shape 19"/>
            <p:cNvSpPr/>
            <p:nvPr/>
          </p:nvSpPr>
          <p:spPr>
            <a:xfrm>
              <a:off x="2239778" y="1852395"/>
              <a:ext cx="4220166" cy="3376132"/>
            </a:xfrm>
            <a:prstGeom prst="funnel">
              <a:avLst/>
            </a:prstGeom>
            <a:scene3d>
              <a:camera prst="orthographicFront"/>
              <a:lightRig rig="flat" dir="t"/>
            </a:scene3d>
            <a:sp3d extrusionH="12700" prstMaterial="plastic">
              <a:bevelT w="50800" h="50800"/>
            </a:sp3d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2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19" name="Freeform 18"/>
          <p:cNvSpPr/>
          <p:nvPr/>
        </p:nvSpPr>
        <p:spPr>
          <a:xfrm>
            <a:off x="3965963" y="1942480"/>
            <a:ext cx="1403484" cy="1250974"/>
          </a:xfrm>
          <a:custGeom>
            <a:avLst/>
            <a:gdLst>
              <a:gd name="connsiteX0" fmla="*/ 0 w 1403484"/>
              <a:gd name="connsiteY0" fmla="*/ 625487 h 1250974"/>
              <a:gd name="connsiteX1" fmla="*/ 701742 w 1403484"/>
              <a:gd name="connsiteY1" fmla="*/ 0 h 1250974"/>
              <a:gd name="connsiteX2" fmla="*/ 1403484 w 1403484"/>
              <a:gd name="connsiteY2" fmla="*/ 625487 h 1250974"/>
              <a:gd name="connsiteX3" fmla="*/ 701742 w 1403484"/>
              <a:gd name="connsiteY3" fmla="*/ 1250974 h 1250974"/>
              <a:gd name="connsiteX4" fmla="*/ 0 w 1403484"/>
              <a:gd name="connsiteY4" fmla="*/ 625487 h 1250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484" h="1250974">
                <a:moveTo>
                  <a:pt x="0" y="625487"/>
                </a:moveTo>
                <a:cubicBezTo>
                  <a:pt x="0" y="280040"/>
                  <a:pt x="314181" y="0"/>
                  <a:pt x="701742" y="0"/>
                </a:cubicBezTo>
                <a:cubicBezTo>
                  <a:pt x="1089303" y="0"/>
                  <a:pt x="1403484" y="280040"/>
                  <a:pt x="1403484" y="625487"/>
                </a:cubicBezTo>
                <a:cubicBezTo>
                  <a:pt x="1403484" y="970934"/>
                  <a:pt x="1089303" y="1250974"/>
                  <a:pt x="701742" y="1250974"/>
                </a:cubicBezTo>
                <a:cubicBezTo>
                  <a:pt x="314181" y="1250974"/>
                  <a:pt x="0" y="970934"/>
                  <a:pt x="0" y="625487"/>
                </a:cubicBezTo>
                <a:close/>
              </a:path>
            </a:pathLst>
          </a:custGeom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20775" tIns="198441" rIns="220775" bIns="198441" numCol="1" spcCol="1270" anchor="ctr" anchorCtr="0">
            <a:noAutofit/>
          </a:bodyPr>
          <a:lstStyle/>
          <a:p>
            <a:pPr lvl="0" algn="ctr" defTabSz="5334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200" b="1" kern="1200" dirty="0" smtClean="0"/>
              <a:t>RO Reject Water from DI System</a:t>
            </a:r>
            <a:endParaRPr lang="en-US" sz="1200" b="1" kern="1200" dirty="0"/>
          </a:p>
        </p:txBody>
      </p:sp>
      <p:grpSp>
        <p:nvGrpSpPr>
          <p:cNvPr id="11" name="Group 10"/>
          <p:cNvGrpSpPr/>
          <p:nvPr/>
        </p:nvGrpSpPr>
        <p:grpSpPr>
          <a:xfrm>
            <a:off x="0" y="1066531"/>
            <a:ext cx="9144000" cy="464557"/>
            <a:chOff x="0" y="0"/>
            <a:chExt cx="9144000" cy="556968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2" name="Rectangle 11"/>
            <p:cNvSpPr/>
            <p:nvPr/>
          </p:nvSpPr>
          <p:spPr>
            <a:xfrm>
              <a:off x="0" y="0"/>
              <a:ext cx="9144000" cy="556968"/>
            </a:xfrm>
            <a:prstGeom prst="rect">
              <a:avLst/>
            </a:prstGeom>
            <a:sp3d prstMaterial="plastic">
              <a:bevelT w="127000" h="25400" prst="relaxedInset"/>
              <a:bevelB w="88900" h="121750" prst="angle"/>
            </a:sp3d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shade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shade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Rectangle 12"/>
            <p:cNvSpPr/>
            <p:nvPr/>
          </p:nvSpPr>
          <p:spPr>
            <a:xfrm>
              <a:off x="0" y="0"/>
              <a:ext cx="9144000" cy="55696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Aft>
                  <a:spcPct val="35000"/>
                </a:spcAft>
              </a:pPr>
              <a:r>
                <a:rPr lang="en-US" dirty="0" smtClean="0"/>
                <a:t>Concept of Waste </a:t>
              </a:r>
              <a:r>
                <a:rPr lang="en-US" dirty="0"/>
                <a:t>W</a:t>
              </a:r>
              <a:r>
                <a:rPr lang="en-US" dirty="0" smtClean="0"/>
                <a:t>ater </a:t>
              </a:r>
              <a:r>
                <a:rPr lang="en-US" dirty="0"/>
                <a:t>R</a:t>
              </a:r>
              <a:r>
                <a:rPr lang="en-US" dirty="0" smtClean="0"/>
                <a:t>eclaim </a:t>
              </a:r>
              <a:r>
                <a:rPr lang="en-US" dirty="0"/>
                <a:t>S</a:t>
              </a:r>
              <a:r>
                <a:rPr lang="en-US" dirty="0" smtClean="0"/>
                <a:t>ystem</a:t>
              </a:r>
              <a:endParaRPr lang="en-US" kern="1200" dirty="0"/>
            </a:p>
          </p:txBody>
        </p:sp>
      </p:grpSp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996790" y="1804256"/>
            <a:ext cx="1467858" cy="1957143"/>
          </a:xfrm>
          <a:prstGeom prst="rect">
            <a:avLst/>
          </a:prstGeom>
          <a:effectLst>
            <a:softEdge rad="12700"/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328" r="21445" b="3685"/>
          <a:stretch/>
        </p:blipFill>
        <p:spPr>
          <a:xfrm>
            <a:off x="0" y="1804256"/>
            <a:ext cx="2254104" cy="2137144"/>
          </a:xfrm>
          <a:prstGeom prst="rect">
            <a:avLst/>
          </a:prstGeom>
          <a:ln>
            <a:noFill/>
          </a:ln>
          <a:effectLst>
            <a:softEdge rad="317500"/>
          </a:effectLst>
        </p:spPr>
      </p:pic>
      <p:sp>
        <p:nvSpPr>
          <p:cNvPr id="8" name="Can 7"/>
          <p:cNvSpPr/>
          <p:nvPr/>
        </p:nvSpPr>
        <p:spPr bwMode="auto">
          <a:xfrm>
            <a:off x="2721775" y="5736661"/>
            <a:ext cx="3565090" cy="1153238"/>
          </a:xfrm>
          <a:prstGeom prst="can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24" name="Can 23"/>
          <p:cNvSpPr/>
          <p:nvPr/>
        </p:nvSpPr>
        <p:spPr bwMode="auto">
          <a:xfrm>
            <a:off x="2721777" y="6079149"/>
            <a:ext cx="3565088" cy="810750"/>
          </a:xfrm>
          <a:prstGeom prst="can">
            <a:avLst>
              <a:gd name="adj" fmla="val 22883"/>
            </a:avLst>
          </a:prstGeom>
          <a:blipFill>
            <a:blip r:embed="rId8" cstate="print"/>
            <a:stretch>
              <a:fillRect/>
            </a:stretch>
          </a:blipFill>
          <a:ln>
            <a:headEnd type="none" w="med" len="med"/>
            <a:tailEnd type="none" w="med" len="med"/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421857" y="6387708"/>
            <a:ext cx="22056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O grade water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25" name="Group 24"/>
          <p:cNvGrpSpPr/>
          <p:nvPr/>
        </p:nvGrpSpPr>
        <p:grpSpPr>
          <a:xfrm>
            <a:off x="-2" y="247274"/>
            <a:ext cx="6792866" cy="5321010"/>
            <a:chOff x="-4016166" y="3177676"/>
            <a:chExt cx="6792866" cy="5321010"/>
          </a:xfrm>
        </p:grpSpPr>
        <p:sp>
          <p:nvSpPr>
            <p:cNvPr id="26" name="Rectangle 25"/>
            <p:cNvSpPr/>
            <p:nvPr/>
          </p:nvSpPr>
          <p:spPr>
            <a:xfrm>
              <a:off x="0" y="3177676"/>
              <a:ext cx="2776700" cy="904321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7" name="Rectangle 26"/>
            <p:cNvSpPr/>
            <p:nvPr/>
          </p:nvSpPr>
          <p:spPr>
            <a:xfrm>
              <a:off x="-4016166" y="7149172"/>
              <a:ext cx="3341049" cy="1349514"/>
            </a:xfrm>
            <a:prstGeom prst="rect">
              <a:avLst/>
            </a:prstGeom>
            <a:effectLst>
              <a:outerShdw blurRad="50800" dist="38100" dir="13500000" algn="br" rotWithShape="0">
                <a:prstClr val="black">
                  <a:alpha val="40000"/>
                </a:prstClr>
              </a:outerShdw>
            </a:effectLst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128016" tIns="128016" rIns="128016" bIns="128016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800" b="1" kern="1200" dirty="0" smtClean="0"/>
                <a:t>Waste </a:t>
              </a:r>
              <a:r>
                <a:rPr lang="en-GB" sz="1800" b="1" dirty="0"/>
                <a:t>W</a:t>
              </a:r>
              <a:r>
                <a:rPr lang="en-GB" sz="1800" b="1" kern="1200" dirty="0" smtClean="0"/>
                <a:t>ater </a:t>
              </a:r>
              <a:r>
                <a:rPr lang="en-GB" sz="1800" b="1" dirty="0"/>
                <a:t>R</a:t>
              </a:r>
              <a:r>
                <a:rPr lang="en-GB" sz="1800" b="1" kern="1200" dirty="0" smtClean="0"/>
                <a:t>eclaim </a:t>
              </a:r>
              <a:r>
                <a:rPr lang="en-GB" sz="1800" b="1" dirty="0" smtClean="0"/>
                <a:t>is </a:t>
              </a:r>
              <a:r>
                <a:rPr lang="en-GB" sz="1800" b="1" dirty="0" smtClean="0">
                  <a:solidFill>
                    <a:schemeClr val="tx1"/>
                  </a:solidFill>
                </a:rPr>
                <a:t>28,000m3</a:t>
              </a:r>
              <a:r>
                <a:rPr lang="en-GB" sz="1800" b="1" dirty="0" smtClean="0"/>
                <a:t> water per month, this is equivalent to 11 Olympics swimming pools. </a:t>
              </a:r>
              <a:endParaRPr lang="en-US" sz="1800" b="1" kern="1200" dirty="0"/>
            </a:p>
          </p:txBody>
        </p:sp>
      </p:grpSp>
      <p:sp>
        <p:nvSpPr>
          <p:cNvPr id="28" name="Title 1"/>
          <p:cNvSpPr txBox="1">
            <a:spLocks/>
          </p:cNvSpPr>
          <p:nvPr/>
        </p:nvSpPr>
        <p:spPr>
          <a:xfrm>
            <a:off x="993674" y="391951"/>
            <a:ext cx="4765681" cy="41717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US" dirty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Project Implementation -1 of </a:t>
            </a:r>
            <a:r>
              <a:rPr lang="en-US" dirty="0" smtClean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6</a:t>
            </a:r>
            <a:endParaRPr lang="en-US" dirty="0">
              <a:solidFill>
                <a:srgbClr val="2875CA"/>
              </a:solidFill>
              <a:latin typeface="Britannic Bold" pitchFamily="34" charset="0"/>
              <a:ea typeface="+mj-ea"/>
              <a:cs typeface="+mj-cs"/>
            </a:endParaRPr>
          </a:p>
        </p:txBody>
      </p:sp>
      <p:grpSp>
        <p:nvGrpSpPr>
          <p:cNvPr id="29" name="Group 28"/>
          <p:cNvGrpSpPr/>
          <p:nvPr/>
        </p:nvGrpSpPr>
        <p:grpSpPr>
          <a:xfrm rot="264182">
            <a:off x="86596" y="91470"/>
            <a:ext cx="777240" cy="777240"/>
            <a:chOff x="3728638" y="1092389"/>
            <a:chExt cx="914400" cy="914400"/>
          </a:xfrm>
        </p:grpSpPr>
        <p:grpSp>
          <p:nvGrpSpPr>
            <p:cNvPr id="33" name="Group 32"/>
            <p:cNvGrpSpPr/>
            <p:nvPr/>
          </p:nvGrpSpPr>
          <p:grpSpPr>
            <a:xfrm>
              <a:off x="3728638" y="1092389"/>
              <a:ext cx="914400" cy="914400"/>
              <a:chOff x="2378075" y="502896"/>
              <a:chExt cx="2066925" cy="2066925"/>
            </a:xfrm>
          </p:grpSpPr>
          <p:grpSp>
            <p:nvGrpSpPr>
              <p:cNvPr id="35" name="Group 28"/>
              <p:cNvGrpSpPr>
                <a:grpSpLocks/>
              </p:cNvGrpSpPr>
              <p:nvPr/>
            </p:nvGrpSpPr>
            <p:grpSpPr bwMode="auto">
              <a:xfrm>
                <a:off x="2378075" y="502896"/>
                <a:ext cx="2066925" cy="2066925"/>
                <a:chOff x="2333625" y="219075"/>
                <a:chExt cx="2066236" cy="2066236"/>
              </a:xfrm>
            </p:grpSpPr>
            <p:grpSp>
              <p:nvGrpSpPr>
                <p:cNvPr id="41" name="Group 154"/>
                <p:cNvGrpSpPr>
                  <a:grpSpLocks/>
                </p:cNvGrpSpPr>
                <p:nvPr/>
              </p:nvGrpSpPr>
              <p:grpSpPr bwMode="auto">
                <a:xfrm>
                  <a:off x="2333625" y="219075"/>
                  <a:ext cx="2066236" cy="2066236"/>
                  <a:chOff x="2844111" y="1118742"/>
                  <a:chExt cx="3508375" cy="3508375"/>
                </a:xfrm>
              </p:grpSpPr>
              <p:sp>
                <p:nvSpPr>
                  <p:cNvPr id="43" name="Freeform 6"/>
                  <p:cNvSpPr>
                    <a:spLocks noEditPoints="1"/>
                  </p:cNvSpPr>
                  <p:nvPr>
                    <p:custDataLst>
                      <p:tags r:id="rId1"/>
                    </p:custDataLst>
                  </p:nvPr>
                </p:nvSpPr>
                <p:spPr bwMode="gray">
                  <a:xfrm rot="3600000">
                    <a:off x="2844111" y="1118742"/>
                    <a:ext cx="3508375" cy="3508375"/>
                  </a:xfrm>
                  <a:custGeom>
                    <a:avLst/>
                    <a:gdLst/>
                    <a:ahLst/>
                    <a:cxnLst>
                      <a:cxn ang="0">
                        <a:pos x="292" y="0"/>
                      </a:cxn>
                      <a:cxn ang="0">
                        <a:pos x="0" y="293"/>
                      </a:cxn>
                      <a:cxn ang="0">
                        <a:pos x="292" y="585"/>
                      </a:cxn>
                      <a:cxn ang="0">
                        <a:pos x="585" y="293"/>
                      </a:cxn>
                      <a:cxn ang="0">
                        <a:pos x="292" y="0"/>
                      </a:cxn>
                      <a:cxn ang="0">
                        <a:pos x="292" y="539"/>
                      </a:cxn>
                      <a:cxn ang="0">
                        <a:pos x="46" y="293"/>
                      </a:cxn>
                      <a:cxn ang="0">
                        <a:pos x="292" y="46"/>
                      </a:cxn>
                      <a:cxn ang="0">
                        <a:pos x="539" y="293"/>
                      </a:cxn>
                      <a:cxn ang="0">
                        <a:pos x="292" y="539"/>
                      </a:cxn>
                    </a:cxnLst>
                    <a:rect l="0" t="0" r="r" b="b"/>
                    <a:pathLst>
                      <a:path w="585" h="585">
                        <a:moveTo>
                          <a:pt x="292" y="0"/>
                        </a:moveTo>
                        <a:cubicBezTo>
                          <a:pt x="131" y="0"/>
                          <a:pt x="0" y="131"/>
                          <a:pt x="0" y="293"/>
                        </a:cubicBezTo>
                        <a:cubicBezTo>
                          <a:pt x="0" y="454"/>
                          <a:pt x="131" y="585"/>
                          <a:pt x="292" y="585"/>
                        </a:cubicBezTo>
                        <a:cubicBezTo>
                          <a:pt x="454" y="585"/>
                          <a:pt x="585" y="454"/>
                          <a:pt x="585" y="293"/>
                        </a:cubicBezTo>
                        <a:cubicBezTo>
                          <a:pt x="585" y="131"/>
                          <a:pt x="454" y="0"/>
                          <a:pt x="292" y="0"/>
                        </a:cubicBezTo>
                        <a:close/>
                        <a:moveTo>
                          <a:pt x="292" y="539"/>
                        </a:moveTo>
                        <a:cubicBezTo>
                          <a:pt x="156" y="539"/>
                          <a:pt x="46" y="429"/>
                          <a:pt x="46" y="293"/>
                        </a:cubicBezTo>
                        <a:cubicBezTo>
                          <a:pt x="46" y="156"/>
                          <a:pt x="156" y="46"/>
                          <a:pt x="292" y="46"/>
                        </a:cubicBezTo>
                        <a:cubicBezTo>
                          <a:pt x="429" y="46"/>
                          <a:pt x="539" y="156"/>
                          <a:pt x="539" y="293"/>
                        </a:cubicBezTo>
                        <a:cubicBezTo>
                          <a:pt x="539" y="429"/>
                          <a:pt x="429" y="539"/>
                          <a:pt x="292" y="539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4"/>
                  </a:lnRef>
                  <a:fillRef idx="3">
                    <a:schemeClr val="accent4"/>
                  </a:fillRef>
                  <a:effectRef idx="3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sz="900"/>
                  </a:p>
                </p:txBody>
              </p:sp>
              <p:sp>
                <p:nvSpPr>
                  <p:cNvPr id="44" name="Ellipse 12"/>
                  <p:cNvSpPr>
                    <a:spLocks noChangeArrowheads="1"/>
                  </p:cNvSpPr>
                  <p:nvPr/>
                </p:nvSpPr>
                <p:spPr bwMode="auto">
                  <a:xfrm>
                    <a:off x="3948899" y="2247780"/>
                    <a:ext cx="1279938" cy="127993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353637"/>
                      </a:gs>
                      <a:gs pos="100000">
                        <a:srgbClr val="151616"/>
                      </a:gs>
                    </a:gsLst>
                    <a:path path="shape">
                      <a:fillToRect l="50000" t="50000" r="50000" b="50000"/>
                    </a:path>
                  </a:gradFill>
                  <a:ln w="9525">
                    <a:solidFill>
                      <a:srgbClr val="191919"/>
                    </a:solidFill>
                    <a:round/>
                    <a:headEnd/>
                    <a:tailEnd/>
                  </a:ln>
                  <a:effectLst>
                    <a:outerShdw dist="23000" dir="5400000" rotWithShape="0">
                      <a:srgbClr val="808080">
                        <a:alpha val="34999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latin typeface="Calibri" charset="0"/>
                    </a:endParaRPr>
                  </a:p>
                </p:txBody>
              </p:sp>
              <p:sp>
                <p:nvSpPr>
                  <p:cNvPr id="45" name="Ellipse 13"/>
                  <p:cNvSpPr/>
                  <p:nvPr/>
                </p:nvSpPr>
                <p:spPr bwMode="auto">
                  <a:xfrm>
                    <a:off x="4118660" y="2304368"/>
                    <a:ext cx="940416" cy="692512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tx2">
                          <a:lumMod val="40000"/>
                          <a:lumOff val="60000"/>
                          <a:alpha val="0"/>
                        </a:schemeClr>
                      </a:gs>
                      <a:gs pos="100000">
                        <a:schemeClr val="bg1">
                          <a:alpha val="77000"/>
                        </a:schemeClr>
                      </a:gs>
                    </a:gsLst>
                    <a:lin ang="162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ea typeface="ＭＳ Ｐゴシック" charset="-128"/>
                    </a:endParaRPr>
                  </a:p>
                </p:txBody>
              </p:sp>
              <p:sp>
                <p:nvSpPr>
                  <p:cNvPr id="46" name="Block Arc 45"/>
                  <p:cNvSpPr/>
                  <p:nvPr/>
                </p:nvSpPr>
                <p:spPr>
                  <a:xfrm rot="18729919">
                    <a:off x="3230788" y="1508111"/>
                    <a:ext cx="2726940" cy="2729633"/>
                  </a:xfrm>
                  <a:prstGeom prst="blockArc">
                    <a:avLst>
                      <a:gd name="adj1" fmla="val 574634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900"/>
                  </a:p>
                </p:txBody>
              </p:sp>
              <p:sp>
                <p:nvSpPr>
                  <p:cNvPr id="47" name="Block Arc 46"/>
                  <p:cNvSpPr/>
                  <p:nvPr/>
                </p:nvSpPr>
                <p:spPr>
                  <a:xfrm rot="1352524">
                    <a:off x="3229440" y="1509459"/>
                    <a:ext cx="2729633" cy="2726940"/>
                  </a:xfrm>
                  <a:prstGeom prst="blockArc">
                    <a:avLst>
                      <a:gd name="adj1" fmla="val 596470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8" name="Block Arc 47"/>
                  <p:cNvSpPr/>
                  <p:nvPr/>
                </p:nvSpPr>
                <p:spPr>
                  <a:xfrm rot="5869595">
                    <a:off x="3230788" y="1508111"/>
                    <a:ext cx="2726940" cy="2729633"/>
                  </a:xfrm>
                  <a:prstGeom prst="blockArc">
                    <a:avLst>
                      <a:gd name="adj1" fmla="val 5627424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9" name="Block Arc 48"/>
                  <p:cNvSpPr/>
                  <p:nvPr/>
                </p:nvSpPr>
                <p:spPr>
                  <a:xfrm rot="10291675">
                    <a:off x="3229440" y="1509459"/>
                    <a:ext cx="2729633" cy="2726940"/>
                  </a:xfrm>
                  <a:prstGeom prst="blockArc">
                    <a:avLst>
                      <a:gd name="adj1" fmla="val 5803831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50" name="Block Arc 49"/>
                  <p:cNvSpPr/>
                  <p:nvPr/>
                </p:nvSpPr>
                <p:spPr>
                  <a:xfrm rot="14301489">
                    <a:off x="3230788" y="1508111"/>
                    <a:ext cx="2726940" cy="2729633"/>
                  </a:xfrm>
                  <a:prstGeom prst="blockArc">
                    <a:avLst>
                      <a:gd name="adj1" fmla="val 6140645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</p:grpSp>
            <p:sp>
              <p:nvSpPr>
                <p:cNvPr id="42" name="Ellipse 15"/>
                <p:cNvSpPr/>
                <p:nvPr/>
              </p:nvSpPr>
              <p:spPr bwMode="auto">
                <a:xfrm>
                  <a:off x="2763695" y="465055"/>
                  <a:ext cx="1237837" cy="91568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900" dirty="0"/>
                </a:p>
              </p:txBody>
            </p:sp>
          </p:grpSp>
          <p:sp>
            <p:nvSpPr>
              <p:cNvPr id="36" name="TextBox 29"/>
              <p:cNvSpPr txBox="1">
                <a:spLocks noChangeArrowheads="1"/>
              </p:cNvSpPr>
              <p:nvPr/>
            </p:nvSpPr>
            <p:spPr bwMode="auto">
              <a:xfrm>
                <a:off x="2754110" y="771753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D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37" name="TextBox 29"/>
              <p:cNvSpPr txBox="1">
                <a:spLocks noChangeArrowheads="1"/>
              </p:cNvSpPr>
              <p:nvPr/>
            </p:nvSpPr>
            <p:spPr bwMode="auto">
              <a:xfrm>
                <a:off x="2584640" y="1514847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M</a:t>
                </a:r>
              </a:p>
            </p:txBody>
          </p:sp>
          <p:sp>
            <p:nvSpPr>
              <p:cNvPr id="38" name="TextBox 29"/>
              <p:cNvSpPr txBox="1">
                <a:spLocks noChangeArrowheads="1"/>
              </p:cNvSpPr>
              <p:nvPr/>
            </p:nvSpPr>
            <p:spPr bwMode="auto">
              <a:xfrm>
                <a:off x="3253164" y="1880209"/>
                <a:ext cx="289718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A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39" name="TextBox 29"/>
              <p:cNvSpPr txBox="1">
                <a:spLocks noChangeArrowheads="1"/>
              </p:cNvSpPr>
              <p:nvPr/>
            </p:nvSpPr>
            <p:spPr bwMode="auto">
              <a:xfrm>
                <a:off x="3844923" y="13567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I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40" name="TextBox 29"/>
              <p:cNvSpPr txBox="1">
                <a:spLocks noChangeArrowheads="1"/>
              </p:cNvSpPr>
              <p:nvPr/>
            </p:nvSpPr>
            <p:spPr bwMode="auto">
              <a:xfrm>
                <a:off x="3487620" y="7158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C</a:t>
                </a:r>
              </a:p>
            </p:txBody>
          </p:sp>
        </p:grpSp>
        <p:sp>
          <p:nvSpPr>
            <p:cNvPr id="34" name="TextBox 29"/>
            <p:cNvSpPr txBox="1">
              <a:spLocks noChangeArrowheads="1"/>
            </p:cNvSpPr>
            <p:nvPr/>
          </p:nvSpPr>
          <p:spPr bwMode="auto">
            <a:xfrm rot="21335818">
              <a:off x="4093795" y="1350066"/>
              <a:ext cx="128171" cy="398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da-DK" sz="1600" b="1" dirty="0" smtClean="0">
                  <a:solidFill>
                    <a:schemeClr val="bg1"/>
                  </a:solidFill>
                </a:rPr>
                <a:t>I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5240349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25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26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7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28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29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0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1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32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000"/>
                            </p:stCondLst>
                            <p:childTnLst>
                              <p:par>
                                <p:cTn id="34" presetID="27" presetClass="emph" presetSubtype="0" fill="remove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35" dur="375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36" dur="375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37" dur="375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8" dur="375" autoRev="1" fill="remove"/>
                                        <p:tgtEl>
                                          <p:spTgt spid="1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750"/>
                            </p:stCondLst>
                            <p:childTnLst>
                              <p:par>
                                <p:cTn id="40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48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49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0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1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2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3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4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5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3750"/>
                            </p:stCondLst>
                            <p:childTnLst>
                              <p:par>
                                <p:cTn id="57" presetID="27" presetClass="emph" presetSubtype="0" fill="remove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58" dur="250" autoRev="1" fill="remove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59" dur="250" autoRev="1" fill="remove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60" dur="250" autoRev="1" fill="remove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1" dur="250" autoRev="1" fill="remove"/>
                                        <p:tgtEl>
                                          <p:spTgt spid="1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>
                            <p:stCondLst>
                              <p:cond delay="4250"/>
                            </p:stCondLst>
                            <p:childTnLst>
                              <p:par>
                                <p:cTn id="63" presetID="26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5" dur="29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6" dur="911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332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332" tmFilter="0, 0; 0.125,0.2665; 0.25,0.4; 0.375,0.465; 0.5,0.5;  0.625,0.535; 0.75,0.6; 0.875,0.7335; 1,1">
                                          <p:stCondLst>
                                            <p:cond delay="332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9" dur="166" tmFilter="0, 0; 0.125,0.2665; 0.25,0.4; 0.375,0.465; 0.5,0.5;  0.625,0.535; 0.75,0.6; 0.875,0.7335; 1,1">
                                          <p:stCondLst>
                                            <p:cond delay="662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0" dur="82" tmFilter="0, 0; 0.125,0.2665; 0.25,0.4; 0.375,0.465; 0.5,0.5;  0.625,0.535; 0.75,0.6; 0.875,0.7335; 1,1">
                                          <p:stCondLst>
                                            <p:cond delay="828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71" dur="13">
                                          <p:stCondLst>
                                            <p:cond delay="325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72" dur="83" decel="50000">
                                          <p:stCondLst>
                                            <p:cond delay="338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3" dur="13">
                                          <p:stCondLst>
                                            <p:cond delay="656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74" dur="83" decel="50000">
                                          <p:stCondLst>
                                            <p:cond delay="66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5" dur="13">
                                          <p:stCondLst>
                                            <p:cond delay="821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76" dur="83" decel="50000">
                                          <p:stCondLst>
                                            <p:cond delay="834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77" dur="13">
                                          <p:stCondLst>
                                            <p:cond delay="904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78" dur="83" decel="50000">
                                          <p:stCondLst>
                                            <p:cond delay="917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5250"/>
                            </p:stCondLst>
                            <p:childTnLst>
                              <p:par>
                                <p:cTn id="80" presetID="27" presetClass="emph" presetSubtype="0" fill="remove" grpId="1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81" dur="250" autoRev="1" fill="remove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animClr clrSpc="rgb" dir="cw">
                                      <p:cBhvr>
                                        <p:cTn id="82" dur="250" autoRev="1" fill="remove"/>
                                        <p:tgtEl>
                                          <p:spTgt spid="1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  <p:set>
                                      <p:cBhvr>
                                        <p:cTn id="83" dur="250" autoRev="1" fill="remove"/>
                                        <p:tgtEl>
                                          <p:spTgt spid="1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84" dur="250" autoRev="1" fill="remove"/>
                                        <p:tgtEl>
                                          <p:spTgt spid="1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5" fill="hold">
                            <p:stCondLst>
                              <p:cond delay="5750"/>
                            </p:stCondLst>
                            <p:childTnLst>
                              <p:par>
                                <p:cTn id="86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9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1" fill="hold">
                            <p:stCondLst>
                              <p:cond delay="6250"/>
                            </p:stCondLst>
                            <p:childTnLst>
                              <p:par>
                                <p:cTn id="9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5" fill="hold">
                            <p:stCondLst>
                              <p:cond delay="6750"/>
                            </p:stCondLst>
                            <p:childTnLst>
                              <p:par>
                                <p:cTn id="96" presetID="42" presetClass="entr" presetSubtype="0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 vol="19000">
                                        <p:cTn display="0" masterRel="sameClick">
                                          <p:stCondLst>
                                            <p:cond evt="begin" delay="0">
                                              <p:tn val="96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3" name="river-2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1" fill="hold">
                      <p:stCondLst>
                        <p:cond delay="indefinite"/>
                      </p:stCondLst>
                      <p:childTnLst>
                        <p:par>
                          <p:cTn id="102" fill="hold">
                            <p:stCondLst>
                              <p:cond delay="0"/>
                            </p:stCondLst>
                            <p:childTnLst>
                              <p:par>
                                <p:cTn id="103" presetID="10" presetClass="entr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6" fill="hold">
                            <p:stCondLst>
                              <p:cond delay="500"/>
                            </p:stCondLst>
                            <p:childTnLst>
                              <p:par>
                                <p:cTn id="107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0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0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6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8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8" grpId="0" animBg="1"/>
      <p:bldP spid="24" grpId="1" animBg="1"/>
      <p:bldP spid="4" grpId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Picture 73"/>
          <p:cNvPicPr>
            <a:picLocks noChangeAspect="1"/>
          </p:cNvPicPr>
          <p:nvPr/>
        </p:nvPicPr>
        <p:blipFill rotWithShape="1">
          <a:blip r:embed="rId4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9285" b="15900"/>
          <a:stretch/>
        </p:blipFill>
        <p:spPr>
          <a:xfrm>
            <a:off x="-3934" y="6275769"/>
            <a:ext cx="9144000" cy="58223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auto">
          <a:xfrm>
            <a:off x="0" y="1665212"/>
            <a:ext cx="9143999" cy="4699725"/>
          </a:xfrm>
          <a:prstGeom prst="rect">
            <a:avLst/>
          </a:prstGeom>
          <a:gradFill>
            <a:gsLst>
              <a:gs pos="0">
                <a:schemeClr val="bg2"/>
              </a:gs>
              <a:gs pos="4000">
                <a:schemeClr val="bg2">
                  <a:lumMod val="60000"/>
                  <a:lumOff val="40000"/>
                </a:schemeClr>
              </a:gs>
              <a:gs pos="31000">
                <a:schemeClr val="accent4">
                  <a:lumMod val="60000"/>
                  <a:lumOff val="40000"/>
                </a:schemeClr>
              </a:gs>
              <a:gs pos="90000">
                <a:schemeClr val="bg1"/>
              </a:gs>
            </a:gsLst>
            <a:lin ang="162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softEdge rad="317500"/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91470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" name="Group 10"/>
          <p:cNvGrpSpPr/>
          <p:nvPr/>
        </p:nvGrpSpPr>
        <p:grpSpPr>
          <a:xfrm>
            <a:off x="12726" y="970841"/>
            <a:ext cx="9144000" cy="400759"/>
            <a:chOff x="0" y="0"/>
            <a:chExt cx="9144000" cy="556968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2" name="Rectangle 11"/>
            <p:cNvSpPr/>
            <p:nvPr/>
          </p:nvSpPr>
          <p:spPr>
            <a:xfrm>
              <a:off x="0" y="0"/>
              <a:ext cx="9144000" cy="556968"/>
            </a:xfrm>
            <a:prstGeom prst="rect">
              <a:avLst/>
            </a:prstGeom>
            <a:sp3d prstMaterial="plastic">
              <a:bevelT w="127000" h="25400" prst="relaxedInset"/>
              <a:bevelB w="88900" h="121750" prst="angle"/>
            </a:sp3d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shade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shade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Rectangle 12"/>
            <p:cNvSpPr/>
            <p:nvPr/>
          </p:nvSpPr>
          <p:spPr>
            <a:xfrm>
              <a:off x="0" y="0"/>
              <a:ext cx="9144000" cy="55696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algn="ctr"/>
              <a:r>
                <a:rPr lang="en-US" sz="2600" b="1" dirty="0" smtClean="0"/>
                <a:t>Waste Water Reclaim System Implementation</a:t>
              </a:r>
              <a:endParaRPr lang="en-US" sz="2600" b="1" dirty="0"/>
            </a:p>
          </p:txBody>
        </p:sp>
      </p:grpSp>
      <p:sp>
        <p:nvSpPr>
          <p:cNvPr id="33" name="Line 31000000000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6087603" y="2071050"/>
            <a:ext cx="0" cy="379582"/>
          </a:xfrm>
          <a:prstGeom prst="line">
            <a:avLst/>
          </a:prstGeom>
          <a:noFill/>
          <a:ln w="25400">
            <a:solidFill>
              <a:srgbClr val="0000FF"/>
            </a:solidFill>
            <a:round/>
            <a:headEnd/>
            <a:tailEnd type="stealth" w="med" len="med"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36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633" y="2423198"/>
            <a:ext cx="882720" cy="664386"/>
          </a:xfrm>
          <a:prstGeom prst="flowChartAlternateProcess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fr-FR" sz="1200" dirty="0" err="1" smtClean="0"/>
              <a:t>Cooling</a:t>
            </a:r>
            <a:r>
              <a:rPr lang="fr-FR" sz="1200" dirty="0" smtClean="0"/>
              <a:t> </a:t>
            </a:r>
            <a:r>
              <a:rPr lang="fr-FR" sz="1200" dirty="0" err="1" smtClean="0"/>
              <a:t>Tower</a:t>
            </a:r>
            <a:endParaRPr lang="fr-FR" sz="1200" dirty="0" smtClean="0"/>
          </a:p>
        </p:txBody>
      </p:sp>
      <p:sp>
        <p:nvSpPr>
          <p:cNvPr id="37" name="Rectangle 36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549252" y="3325092"/>
            <a:ext cx="803599" cy="73834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r>
              <a:rPr lang="fr-FR" sz="1200" dirty="0"/>
              <a:t>Wet Tools</a:t>
            </a:r>
            <a:endParaRPr lang="en-US" sz="1200" dirty="0"/>
          </a:p>
        </p:txBody>
      </p:sp>
      <p:sp>
        <p:nvSpPr>
          <p:cNvPr id="39" name="Line 13"/>
          <p:cNvSpPr>
            <a:spLocks noChangeShapeType="1"/>
          </p:cNvSpPr>
          <p:nvPr>
            <p:custDataLst>
              <p:tags r:id="rId4"/>
            </p:custDataLst>
          </p:nvPr>
        </p:nvSpPr>
        <p:spPr bwMode="auto">
          <a:xfrm flipH="1">
            <a:off x="3486150" y="3705225"/>
            <a:ext cx="1771650" cy="0"/>
          </a:xfrm>
          <a:prstGeom prst="line">
            <a:avLst/>
          </a:prstGeom>
          <a:noFill/>
          <a:ln w="25400">
            <a:solidFill>
              <a:srgbClr val="0000FF"/>
            </a:solidFill>
            <a:round/>
            <a:headEnd/>
            <a:tailEnd type="stealth" w="med" len="med"/>
          </a:ln>
          <a:effectLst/>
        </p:spPr>
        <p:txBody>
          <a:bodyPr wrap="square" lIns="97256" tIns="48628" rIns="97256" bIns="48628">
            <a:spAutoFit/>
          </a:bodyPr>
          <a:lstStyle/>
          <a:p>
            <a:endParaRPr lang="en-US" dirty="0"/>
          </a:p>
        </p:txBody>
      </p:sp>
      <p:sp>
        <p:nvSpPr>
          <p:cNvPr id="40" name="AutoShape 15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707423" y="3350425"/>
            <a:ext cx="976910" cy="809795"/>
          </a:xfrm>
          <a:prstGeom prst="flowChartAlternateProcess">
            <a:avLst/>
          </a:prstGeom>
          <a:solidFill>
            <a:srgbClr val="FF99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fr-FR" sz="1200" dirty="0" smtClean="0"/>
              <a:t>Waste</a:t>
            </a:r>
            <a:endParaRPr lang="fr-FR" sz="1200" dirty="0"/>
          </a:p>
          <a:p>
            <a:pPr algn="ctr"/>
            <a:r>
              <a:rPr lang="fr-FR" sz="1200" dirty="0" smtClean="0"/>
              <a:t>Water</a:t>
            </a:r>
            <a:endParaRPr lang="fr-FR" sz="1200" dirty="0"/>
          </a:p>
          <a:p>
            <a:pPr algn="ctr"/>
            <a:r>
              <a:rPr lang="fr-FR" sz="1200" dirty="0" smtClean="0"/>
              <a:t>Treatment</a:t>
            </a:r>
          </a:p>
          <a:p>
            <a:pPr algn="ctr"/>
            <a:r>
              <a:rPr lang="fr-FR" sz="1100" dirty="0" smtClean="0"/>
              <a:t>Plant  (WWT)</a:t>
            </a:r>
            <a:endParaRPr lang="en-US" sz="1100" dirty="0"/>
          </a:p>
        </p:txBody>
      </p:sp>
      <p:sp>
        <p:nvSpPr>
          <p:cNvPr id="41" name="Line 16"/>
          <p:cNvSpPr>
            <a:spLocks noChangeShapeType="1"/>
          </p:cNvSpPr>
          <p:nvPr>
            <p:custDataLst>
              <p:tags r:id="rId6"/>
            </p:custDataLst>
          </p:nvPr>
        </p:nvSpPr>
        <p:spPr bwMode="auto">
          <a:xfrm flipV="1">
            <a:off x="6339772" y="3777094"/>
            <a:ext cx="367666" cy="0"/>
          </a:xfrm>
          <a:prstGeom prst="line">
            <a:avLst/>
          </a:prstGeom>
          <a:noFill/>
          <a:ln w="25400">
            <a:solidFill>
              <a:srgbClr val="FF00FF"/>
            </a:solidFill>
            <a:round/>
            <a:headEnd/>
            <a:tailEnd type="stealth" w="med" len="med"/>
          </a:ln>
          <a:effectLst/>
        </p:spPr>
        <p:txBody>
          <a:bodyPr lIns="97256" tIns="48628" rIns="97256" bIns="48628">
            <a:spAutoFit/>
          </a:bodyPr>
          <a:lstStyle/>
          <a:p>
            <a:endParaRPr lang="en-US" dirty="0"/>
          </a:p>
        </p:txBody>
      </p:sp>
      <p:sp>
        <p:nvSpPr>
          <p:cNvPr id="42" name="AutoShape 23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5639075" y="2432762"/>
            <a:ext cx="955411" cy="576252"/>
          </a:xfrm>
          <a:prstGeom prst="flowChartAlternateProcess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fr-FR" sz="1200" dirty="0" smtClean="0"/>
              <a:t>Scrubber</a:t>
            </a:r>
          </a:p>
        </p:txBody>
      </p:sp>
      <p:sp>
        <p:nvSpPr>
          <p:cNvPr id="43" name="AutoShape 2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013172" y="4738255"/>
            <a:ext cx="1048503" cy="576841"/>
          </a:xfrm>
          <a:prstGeom prst="flowChartAlternateProcess">
            <a:avLst/>
          </a:prstGeom>
          <a:solidFill>
            <a:schemeClr val="accent5">
              <a:lumMod val="60000"/>
              <a:lumOff val="4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fr-FR" sz="1200" dirty="0" smtClean="0"/>
              <a:t>Wafer </a:t>
            </a:r>
            <a:r>
              <a:rPr lang="fr-FR" sz="1200" dirty="0"/>
              <a:t>T</a:t>
            </a:r>
            <a:r>
              <a:rPr lang="fr-FR" sz="1200" dirty="0" smtClean="0"/>
              <a:t>hinning </a:t>
            </a:r>
            <a:r>
              <a:rPr lang="fr-FR" sz="1200" dirty="0"/>
              <a:t>T</a:t>
            </a:r>
            <a:r>
              <a:rPr lang="fr-FR" sz="1200" dirty="0" smtClean="0"/>
              <a:t>ools</a:t>
            </a:r>
            <a:endParaRPr lang="en-US" sz="1200" dirty="0"/>
          </a:p>
        </p:txBody>
      </p:sp>
      <p:sp>
        <p:nvSpPr>
          <p:cNvPr id="47" name="Text Box 4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889186" y="1572556"/>
            <a:ext cx="1008994" cy="33855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1600" b="1" dirty="0" err="1" smtClean="0"/>
              <a:t>NeWater</a:t>
            </a:r>
            <a:endParaRPr lang="en-US" sz="1600" b="1" dirty="0"/>
          </a:p>
        </p:txBody>
      </p:sp>
      <p:sp>
        <p:nvSpPr>
          <p:cNvPr id="51" name="AutoShape 23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484515" y="4769999"/>
            <a:ext cx="913190" cy="455611"/>
          </a:xfrm>
          <a:prstGeom prst="flowChartAlternateProcess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fr-FR" sz="1200" dirty="0" smtClean="0"/>
              <a:t>RO Reject </a:t>
            </a:r>
            <a:endParaRPr lang="en-US" sz="1200" dirty="0"/>
          </a:p>
        </p:txBody>
      </p:sp>
      <p:sp>
        <p:nvSpPr>
          <p:cNvPr id="53" name="AutoShape 2300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6829721" y="2411323"/>
            <a:ext cx="882720" cy="585816"/>
          </a:xfrm>
          <a:prstGeom prst="flowChartAlternateProcess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fr-FR" sz="1050" dirty="0" smtClean="0"/>
              <a:t>Process </a:t>
            </a:r>
            <a:r>
              <a:rPr lang="fr-FR" sz="1050" dirty="0" err="1" smtClean="0"/>
              <a:t>Cooling</a:t>
            </a:r>
            <a:r>
              <a:rPr lang="fr-FR" sz="1050" dirty="0" smtClean="0"/>
              <a:t> Water</a:t>
            </a:r>
          </a:p>
        </p:txBody>
      </p:sp>
      <p:sp>
        <p:nvSpPr>
          <p:cNvPr id="54" name="AutoShape 23000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923553" y="2387572"/>
            <a:ext cx="975316" cy="585816"/>
          </a:xfrm>
          <a:prstGeom prst="flowChartAlternateProcess">
            <a:avLst/>
          </a:prstGeom>
          <a:solidFill>
            <a:srgbClr val="FFFF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fr-FR" sz="1200" dirty="0" smtClean="0"/>
              <a:t>Production Tools</a:t>
            </a:r>
          </a:p>
        </p:txBody>
      </p:sp>
      <p:sp>
        <p:nvSpPr>
          <p:cNvPr id="64" name="AutoShape 250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939369" y="5620250"/>
            <a:ext cx="1248767" cy="655519"/>
          </a:xfrm>
          <a:prstGeom prst="flowChartAlternateProcess">
            <a:avLst/>
          </a:prstGeom>
          <a:solidFill>
            <a:srgbClr val="87EFA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fr-FR" sz="1200" dirty="0" smtClean="0"/>
              <a:t>Waste Water </a:t>
            </a:r>
            <a:r>
              <a:rPr lang="fr-FR" sz="1200" dirty="0"/>
              <a:t>Reclaim </a:t>
            </a:r>
            <a:r>
              <a:rPr lang="fr-FR" sz="1200" dirty="0" smtClean="0"/>
              <a:t>Skid</a:t>
            </a:r>
            <a:endParaRPr lang="en-US" sz="1200" dirty="0"/>
          </a:p>
        </p:txBody>
      </p:sp>
      <p:sp>
        <p:nvSpPr>
          <p:cNvPr id="68" name="Line 310000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 flipH="1">
            <a:off x="3578361" y="5308321"/>
            <a:ext cx="2549" cy="316319"/>
          </a:xfrm>
          <a:prstGeom prst="line">
            <a:avLst/>
          </a:prstGeom>
          <a:noFill/>
          <a:ln w="25400">
            <a:solidFill>
              <a:srgbClr val="00B050"/>
            </a:solidFill>
            <a:round/>
            <a:headEnd/>
            <a:tailEnd type="stealth" w="med" len="med"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69" name="AutoShape 230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4631751" y="4741087"/>
            <a:ext cx="1167451" cy="612791"/>
          </a:xfrm>
          <a:prstGeom prst="flowChartAlternateProcess">
            <a:avLst/>
          </a:prstGeom>
          <a:solidFill>
            <a:schemeClr val="accent3">
              <a:lumMod val="60000"/>
              <a:lumOff val="4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anchor="ctr"/>
          <a:lstStyle/>
          <a:p>
            <a:pPr algn="ctr"/>
            <a:r>
              <a:rPr lang="fr-FR" sz="1200" dirty="0" smtClean="0"/>
              <a:t>Air Handling Unit (AHU) condensate</a:t>
            </a:r>
            <a:endParaRPr lang="en-US" sz="1200" dirty="0"/>
          </a:p>
        </p:txBody>
      </p:sp>
      <p:cxnSp>
        <p:nvCxnSpPr>
          <p:cNvPr id="82" name="Straight Connector 81"/>
          <p:cNvCxnSpPr/>
          <p:nvPr>
            <p:custDataLst>
              <p:tags r:id="rId16"/>
            </p:custDataLst>
          </p:nvPr>
        </p:nvCxnSpPr>
        <p:spPr bwMode="auto">
          <a:xfrm flipH="1" flipV="1">
            <a:off x="304504" y="2047300"/>
            <a:ext cx="8083920" cy="13548"/>
          </a:xfrm>
          <a:prstGeom prst="line">
            <a:avLst/>
          </a:prstGeom>
          <a:solidFill>
            <a:schemeClr val="accent1"/>
          </a:solidFill>
          <a:ln w="19050" cap="flat" cmpd="sng" algn="ctr">
            <a:solidFill>
              <a:srgbClr val="3E2FF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3" name="Line 31000000000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>
            <a:off x="304502" y="2047300"/>
            <a:ext cx="0" cy="379582"/>
          </a:xfrm>
          <a:prstGeom prst="line">
            <a:avLst/>
          </a:prstGeom>
          <a:noFill/>
          <a:ln w="25400">
            <a:solidFill>
              <a:srgbClr val="0000FF"/>
            </a:solidFill>
            <a:round/>
            <a:headEnd/>
            <a:tailEnd type="stealth" w="med" len="med"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84" name="Line 31000000000"/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>
            <a:off x="7327687" y="2071050"/>
            <a:ext cx="0" cy="379582"/>
          </a:xfrm>
          <a:prstGeom prst="line">
            <a:avLst/>
          </a:prstGeom>
          <a:noFill/>
          <a:ln w="25400">
            <a:solidFill>
              <a:srgbClr val="0000FF"/>
            </a:solidFill>
            <a:round/>
            <a:headEnd/>
            <a:tailEnd type="stealth" w="med" len="med"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85" name="Line 31000000000"/>
          <p:cNvSpPr>
            <a:spLocks noChangeShapeType="1"/>
          </p:cNvSpPr>
          <p:nvPr>
            <p:custDataLst>
              <p:tags r:id="rId19"/>
            </p:custDataLst>
          </p:nvPr>
        </p:nvSpPr>
        <p:spPr bwMode="auto">
          <a:xfrm>
            <a:off x="8390408" y="2047301"/>
            <a:ext cx="0" cy="379582"/>
          </a:xfrm>
          <a:prstGeom prst="line">
            <a:avLst/>
          </a:prstGeom>
          <a:noFill/>
          <a:ln w="25400">
            <a:solidFill>
              <a:srgbClr val="0000FF"/>
            </a:solidFill>
            <a:round/>
            <a:headEnd/>
            <a:tailEnd type="stealth" w="med" len="med"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87" name="Down Arrow 86"/>
          <p:cNvSpPr/>
          <p:nvPr>
            <p:custDataLst>
              <p:tags r:id="rId20"/>
            </p:custDataLst>
          </p:nvPr>
        </p:nvSpPr>
        <p:spPr bwMode="auto">
          <a:xfrm>
            <a:off x="4598896" y="1477927"/>
            <a:ext cx="293869" cy="569373"/>
          </a:xfrm>
          <a:prstGeom prst="downArrow">
            <a:avLst/>
          </a:prstGeom>
          <a:solidFill>
            <a:schemeClr val="accent2">
              <a:lumMod val="60000"/>
              <a:lumOff val="40000"/>
            </a:schemeClr>
          </a:solidFill>
          <a:ln w="9525" cap="flat" cmpd="sng" algn="ctr">
            <a:solidFill>
              <a:schemeClr val="accent2">
                <a:lumMod val="60000"/>
                <a:lumOff val="4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88" name="Rounded Rectangle 87"/>
          <p:cNvSpPr/>
          <p:nvPr>
            <p:custDataLst>
              <p:tags r:id="rId21"/>
            </p:custDataLst>
          </p:nvPr>
        </p:nvSpPr>
        <p:spPr bwMode="auto">
          <a:xfrm>
            <a:off x="1337912" y="4124326"/>
            <a:ext cx="4995774" cy="2312718"/>
          </a:xfrm>
          <a:prstGeom prst="roundRect">
            <a:avLst/>
          </a:prstGeom>
          <a:noFill/>
          <a:ln w="25400" cap="flat" cmpd="sng" algn="ctr">
            <a:solidFill>
              <a:srgbClr val="00B05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91" name="Line 16"/>
          <p:cNvSpPr>
            <a:spLocks noChangeShapeType="1"/>
          </p:cNvSpPr>
          <p:nvPr>
            <p:custDataLst>
              <p:tags r:id="rId22"/>
            </p:custDataLst>
          </p:nvPr>
        </p:nvSpPr>
        <p:spPr bwMode="auto">
          <a:xfrm flipV="1">
            <a:off x="7687587" y="3773058"/>
            <a:ext cx="502552" cy="406"/>
          </a:xfrm>
          <a:prstGeom prst="line">
            <a:avLst/>
          </a:prstGeom>
          <a:noFill/>
          <a:ln w="25400">
            <a:solidFill>
              <a:srgbClr val="FF00FF"/>
            </a:solidFill>
            <a:round/>
            <a:headEnd/>
            <a:tailEnd type="stealth" w="med" len="med"/>
          </a:ln>
          <a:effectLst/>
        </p:spPr>
        <p:txBody>
          <a:bodyPr wrap="square" lIns="97256" tIns="48628" rIns="97256" bIns="48628">
            <a:spAutoFit/>
          </a:bodyPr>
          <a:lstStyle/>
          <a:p>
            <a:endParaRPr lang="en-US" dirty="0"/>
          </a:p>
        </p:txBody>
      </p:sp>
      <p:sp>
        <p:nvSpPr>
          <p:cNvPr id="92" name="AutoShape 15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8189247" y="3455280"/>
            <a:ext cx="731501" cy="617827"/>
          </a:xfrm>
          <a:prstGeom prst="flowChartAlternateProcess">
            <a:avLst/>
          </a:prstGeom>
          <a:solidFill>
            <a:srgbClr val="FF99CC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r>
              <a:rPr lang="fr-FR" sz="1200" dirty="0"/>
              <a:t>Sewage</a:t>
            </a:r>
            <a:endParaRPr lang="en-US" sz="1200" dirty="0"/>
          </a:p>
        </p:txBody>
      </p:sp>
      <p:cxnSp>
        <p:nvCxnSpPr>
          <p:cNvPr id="102" name="Straight Connector 9"/>
          <p:cNvCxnSpPr>
            <a:endCxn id="51" idx="0"/>
          </p:cNvCxnSpPr>
          <p:nvPr/>
        </p:nvCxnSpPr>
        <p:spPr bwMode="auto">
          <a:xfrm rot="5400000">
            <a:off x="1595951" y="3658375"/>
            <a:ext cx="1456783" cy="766464"/>
          </a:xfrm>
          <a:prstGeom prst="bentConnector3">
            <a:avLst>
              <a:gd name="adj1" fmla="val 50000"/>
            </a:avLst>
          </a:prstGeom>
          <a:noFill/>
          <a:ln w="25400">
            <a:solidFill>
              <a:srgbClr val="FF0000"/>
            </a:solidFill>
            <a:round/>
            <a:headEnd/>
            <a:tailEnd type="stealth" w="med" len="med"/>
          </a:ln>
          <a:effectLst/>
        </p:spPr>
      </p:cxnSp>
      <p:cxnSp>
        <p:nvCxnSpPr>
          <p:cNvPr id="108" name="Straight Connector 9"/>
          <p:cNvCxnSpPr/>
          <p:nvPr/>
        </p:nvCxnSpPr>
        <p:spPr bwMode="auto">
          <a:xfrm>
            <a:off x="2017014" y="5234194"/>
            <a:ext cx="934652" cy="565255"/>
          </a:xfrm>
          <a:prstGeom prst="bentConnector3">
            <a:avLst>
              <a:gd name="adj1" fmla="val -54"/>
            </a:avLst>
          </a:prstGeom>
          <a:noFill/>
          <a:ln w="25400">
            <a:solidFill>
              <a:srgbClr val="00B050"/>
            </a:solidFill>
            <a:round/>
            <a:headEnd/>
            <a:tailEnd type="stealth" w="med" len="med"/>
          </a:ln>
          <a:effectLst/>
        </p:spPr>
      </p:cxnSp>
      <p:cxnSp>
        <p:nvCxnSpPr>
          <p:cNvPr id="113" name="Straight Connector 9"/>
          <p:cNvCxnSpPr/>
          <p:nvPr/>
        </p:nvCxnSpPr>
        <p:spPr bwMode="auto">
          <a:xfrm rot="10800000" flipV="1">
            <a:off x="4185030" y="5353195"/>
            <a:ext cx="1016532" cy="561205"/>
          </a:xfrm>
          <a:prstGeom prst="bentConnector3">
            <a:avLst>
              <a:gd name="adj1" fmla="val -1252"/>
            </a:avLst>
          </a:prstGeom>
          <a:noFill/>
          <a:ln w="25400">
            <a:solidFill>
              <a:srgbClr val="00B050"/>
            </a:solidFill>
            <a:round/>
            <a:headEnd/>
            <a:tailEnd type="stealth" w="med" len="med"/>
          </a:ln>
          <a:effectLst/>
        </p:spPr>
      </p:cxnSp>
      <p:cxnSp>
        <p:nvCxnSpPr>
          <p:cNvPr id="123" name="Straight Connector 9"/>
          <p:cNvCxnSpPr/>
          <p:nvPr/>
        </p:nvCxnSpPr>
        <p:spPr bwMode="auto">
          <a:xfrm rot="16200000" flipV="1">
            <a:off x="869842" y="3930758"/>
            <a:ext cx="2471102" cy="1677136"/>
          </a:xfrm>
          <a:prstGeom prst="bentConnector3">
            <a:avLst>
              <a:gd name="adj1" fmla="val 276"/>
            </a:avLst>
          </a:prstGeom>
          <a:noFill/>
          <a:ln w="25400">
            <a:solidFill>
              <a:srgbClr val="3E2FFD"/>
            </a:solidFill>
            <a:round/>
            <a:headEnd/>
            <a:tailEnd type="stealth" w="med" len="med"/>
          </a:ln>
          <a:effectLst/>
        </p:spPr>
      </p:cxnSp>
      <p:cxnSp>
        <p:nvCxnSpPr>
          <p:cNvPr id="136" name="Elbow Connector 135"/>
          <p:cNvCxnSpPr>
            <a:stCxn id="64" idx="2"/>
          </p:cNvCxnSpPr>
          <p:nvPr/>
        </p:nvCxnSpPr>
        <p:spPr bwMode="auto">
          <a:xfrm rot="5400000" flipH="1">
            <a:off x="363255" y="3075271"/>
            <a:ext cx="3161094" cy="3239903"/>
          </a:xfrm>
          <a:prstGeom prst="bentConnector4">
            <a:avLst>
              <a:gd name="adj1" fmla="val -7232"/>
              <a:gd name="adj2" fmla="val 100207"/>
            </a:avLst>
          </a:prstGeom>
          <a:noFill/>
          <a:ln w="25400">
            <a:solidFill>
              <a:schemeClr val="accent2"/>
            </a:solidFill>
            <a:round/>
            <a:headEnd/>
            <a:tailEnd type="stealth" w="med" len="med"/>
          </a:ln>
          <a:effectLst/>
        </p:spPr>
      </p:cxnSp>
      <p:grpSp>
        <p:nvGrpSpPr>
          <p:cNvPr id="6" name="Group 5"/>
          <p:cNvGrpSpPr/>
          <p:nvPr/>
        </p:nvGrpSpPr>
        <p:grpSpPr>
          <a:xfrm>
            <a:off x="1137114" y="2319149"/>
            <a:ext cx="4040700" cy="993903"/>
            <a:chOff x="1101488" y="3162297"/>
            <a:chExt cx="4040700" cy="993903"/>
          </a:xfrm>
        </p:grpSpPr>
        <p:grpSp>
          <p:nvGrpSpPr>
            <p:cNvPr id="3" name="Group 100"/>
            <p:cNvGrpSpPr/>
            <p:nvPr/>
          </p:nvGrpSpPr>
          <p:grpSpPr>
            <a:xfrm>
              <a:off x="1101488" y="3162297"/>
              <a:ext cx="4040700" cy="993903"/>
              <a:chOff x="1101488" y="3162297"/>
              <a:chExt cx="4040700" cy="993903"/>
            </a:xfrm>
          </p:grpSpPr>
          <p:sp>
            <p:nvSpPr>
              <p:cNvPr id="62" name="Rounded Rectangle 61"/>
              <p:cNvSpPr/>
              <p:nvPr>
                <p:custDataLst>
                  <p:tags r:id="rId30"/>
                </p:custDataLst>
              </p:nvPr>
            </p:nvSpPr>
            <p:spPr bwMode="auto">
              <a:xfrm>
                <a:off x="1101488" y="3207244"/>
                <a:ext cx="4040700" cy="948956"/>
              </a:xfrm>
              <a:prstGeom prst="roundRect">
                <a:avLst/>
              </a:prstGeom>
              <a:solidFill>
                <a:srgbClr val="FFFFCC"/>
              </a:solidFill>
              <a:ln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0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charset="0"/>
                </a:endParaRPr>
              </a:p>
            </p:txBody>
          </p:sp>
          <p:grpSp>
            <p:nvGrpSpPr>
              <p:cNvPr id="4" name="Group 99"/>
              <p:cNvGrpSpPr/>
              <p:nvPr/>
            </p:nvGrpSpPr>
            <p:grpSpPr>
              <a:xfrm>
                <a:off x="1132938" y="3162297"/>
                <a:ext cx="3918161" cy="870314"/>
                <a:chOff x="1132938" y="3162297"/>
                <a:chExt cx="3918161" cy="870314"/>
              </a:xfrm>
            </p:grpSpPr>
            <p:sp>
              <p:nvSpPr>
                <p:cNvPr id="35" name="AutoShape 3"/>
                <p:cNvSpPr>
                  <a:spLocks noChangeArrowheads="1"/>
                </p:cNvSpPr>
                <p:nvPr>
                  <p:custDataLst>
                    <p:tags r:id="rId31"/>
                  </p:custDataLst>
                </p:nvPr>
              </p:nvSpPr>
              <p:spPr bwMode="auto">
                <a:xfrm>
                  <a:off x="4121213" y="3393338"/>
                  <a:ext cx="929886" cy="633204"/>
                </a:xfrm>
                <a:prstGeom prst="flowChartAlternateProcess">
                  <a:avLst/>
                </a:prstGeom>
                <a:solidFill>
                  <a:srgbClr val="00CCF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anchor="ctr"/>
                <a:lstStyle/>
                <a:p>
                  <a:pPr algn="ctr"/>
                  <a:r>
                    <a:rPr lang="en-US" sz="1200" dirty="0"/>
                    <a:t>Polishing System</a:t>
                  </a:r>
                </a:p>
              </p:txBody>
            </p:sp>
            <p:sp>
              <p:nvSpPr>
                <p:cNvPr id="44" name="AutoShape 28"/>
                <p:cNvSpPr>
                  <a:spLocks noChangeArrowheads="1"/>
                </p:cNvSpPr>
                <p:nvPr>
                  <p:custDataLst>
                    <p:tags r:id="rId32"/>
                  </p:custDataLst>
                </p:nvPr>
              </p:nvSpPr>
              <p:spPr bwMode="auto">
                <a:xfrm>
                  <a:off x="2324315" y="3393338"/>
                  <a:ext cx="808215" cy="633204"/>
                </a:xfrm>
                <a:prstGeom prst="flowChartAlternateProcess">
                  <a:avLst/>
                </a:prstGeom>
                <a:solidFill>
                  <a:srgbClr val="00CCF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wrap="none" anchor="ctr"/>
                <a:lstStyle/>
                <a:p>
                  <a:pPr algn="ctr"/>
                  <a:r>
                    <a:rPr lang="fr-FR" sz="1200" dirty="0" smtClean="0"/>
                    <a:t>Reverse </a:t>
                  </a:r>
                </a:p>
                <a:p>
                  <a:pPr algn="ctr"/>
                  <a:r>
                    <a:rPr lang="fr-FR" sz="1200" dirty="0" smtClean="0"/>
                    <a:t>Osmoses </a:t>
                  </a:r>
                </a:p>
                <a:p>
                  <a:pPr algn="ctr"/>
                  <a:r>
                    <a:rPr lang="fr-FR" sz="1200" dirty="0" smtClean="0"/>
                    <a:t>(RO)</a:t>
                  </a:r>
                  <a:endParaRPr lang="en-US" sz="1200" dirty="0"/>
                </a:p>
              </p:txBody>
            </p:sp>
            <p:sp>
              <p:nvSpPr>
                <p:cNvPr id="45" name="AutoShape 29"/>
                <p:cNvSpPr>
                  <a:spLocks noChangeArrowheads="1"/>
                </p:cNvSpPr>
                <p:nvPr>
                  <p:custDataLst>
                    <p:tags r:id="rId33"/>
                  </p:custDataLst>
                </p:nvPr>
              </p:nvSpPr>
              <p:spPr bwMode="auto">
                <a:xfrm>
                  <a:off x="1132938" y="3456100"/>
                  <a:ext cx="955606" cy="569046"/>
                </a:xfrm>
                <a:prstGeom prst="flowChartAlternateProcess">
                  <a:avLst/>
                </a:prstGeom>
                <a:solidFill>
                  <a:srgbClr val="00CCFF"/>
                </a:solidFill>
                <a:ln w="9525">
                  <a:solidFill>
                    <a:schemeClr val="tx1"/>
                  </a:solidFill>
                  <a:miter lim="800000"/>
                  <a:headEnd/>
                  <a:tailEnd/>
                </a:ln>
                <a:effectLst/>
              </p:spPr>
              <p:txBody>
                <a:bodyPr anchor="ctr"/>
                <a:lstStyle/>
                <a:p>
                  <a:pPr algn="ctr"/>
                  <a:r>
                    <a:rPr lang="fr-FR" sz="1200" dirty="0"/>
                    <a:t>Raw Water Tank</a:t>
                  </a:r>
                  <a:endParaRPr lang="en-US" sz="1200" dirty="0"/>
                </a:p>
              </p:txBody>
            </p:sp>
            <p:sp>
              <p:nvSpPr>
                <p:cNvPr id="46" name="Line 30"/>
                <p:cNvSpPr>
                  <a:spLocks noChangeShapeType="1"/>
                </p:cNvSpPr>
                <p:nvPr>
                  <p:custDataLst>
                    <p:tags r:id="rId34"/>
                  </p:custDataLst>
                </p:nvPr>
              </p:nvSpPr>
              <p:spPr bwMode="auto">
                <a:xfrm>
                  <a:off x="3643435" y="3732295"/>
                  <a:ext cx="515055" cy="0"/>
                </a:xfrm>
                <a:prstGeom prst="line">
                  <a:avLst/>
                </a:prstGeom>
                <a:noFill/>
                <a:ln w="25400">
                  <a:solidFill>
                    <a:srgbClr val="0000FF"/>
                  </a:solidFill>
                  <a:round/>
                  <a:headEnd/>
                  <a:tailEnd type="stealth" w="med" len="med"/>
                </a:ln>
                <a:effectLst/>
              </p:spPr>
              <p:txBody>
                <a:bodyPr wrap="none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50" name="Line 300"/>
                <p:cNvSpPr>
                  <a:spLocks noChangeShapeType="1"/>
                </p:cNvSpPr>
                <p:nvPr>
                  <p:custDataLst>
                    <p:tags r:id="rId35"/>
                  </p:custDataLst>
                </p:nvPr>
              </p:nvSpPr>
              <p:spPr bwMode="auto">
                <a:xfrm>
                  <a:off x="2063439" y="3734017"/>
                  <a:ext cx="274072" cy="4474"/>
                </a:xfrm>
                <a:prstGeom prst="line">
                  <a:avLst/>
                </a:prstGeom>
                <a:noFill/>
                <a:ln w="25400">
                  <a:solidFill>
                    <a:srgbClr val="0000FF"/>
                  </a:solidFill>
                  <a:round/>
                  <a:headEnd/>
                  <a:tailEnd type="stealth" w="med" len="med"/>
                </a:ln>
                <a:effectLst/>
              </p:spPr>
              <p:txBody>
                <a:bodyPr wrap="none" anchor="ctr"/>
                <a:lstStyle/>
                <a:p>
                  <a:pPr algn="ctr"/>
                  <a:endParaRPr lang="en-US" dirty="0"/>
                </a:p>
              </p:txBody>
            </p:sp>
            <p:sp>
              <p:nvSpPr>
                <p:cNvPr id="63" name="TextBox 62"/>
                <p:cNvSpPr txBox="1"/>
                <p:nvPr>
                  <p:custDataLst>
                    <p:tags r:id="rId36"/>
                  </p:custDataLst>
                </p:nvPr>
              </p:nvSpPr>
              <p:spPr>
                <a:xfrm>
                  <a:off x="1186108" y="3162297"/>
                  <a:ext cx="2972381" cy="276999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/>
                  <a:r>
                    <a:rPr lang="en-US" sz="1200" b="1" dirty="0" smtClean="0">
                      <a:solidFill>
                        <a:srgbClr val="00B050"/>
                      </a:solidFill>
                    </a:rPr>
                    <a:t>Deionized (DI) water system </a:t>
                  </a:r>
                  <a:endParaRPr lang="en-US" sz="1200" b="1" dirty="0">
                    <a:solidFill>
                      <a:schemeClr val="tx1"/>
                    </a:solidFill>
                  </a:endParaRPr>
                </a:p>
              </p:txBody>
            </p:sp>
            <p:grpSp>
              <p:nvGrpSpPr>
                <p:cNvPr id="5" name="Group 70"/>
                <p:cNvGrpSpPr/>
                <p:nvPr/>
              </p:nvGrpSpPr>
              <p:grpSpPr>
                <a:xfrm>
                  <a:off x="3316659" y="3399963"/>
                  <a:ext cx="661206" cy="632648"/>
                  <a:chOff x="3563887" y="3690014"/>
                  <a:chExt cx="648073" cy="720080"/>
                </a:xfrm>
              </p:grpSpPr>
              <p:sp>
                <p:nvSpPr>
                  <p:cNvPr id="95" name="Rectangle 94"/>
                  <p:cNvSpPr/>
                  <p:nvPr>
                    <p:custDataLst>
                      <p:tags r:id="rId37"/>
                    </p:custDataLst>
                  </p:nvPr>
                </p:nvSpPr>
                <p:spPr bwMode="auto">
                  <a:xfrm>
                    <a:off x="3563888" y="3834030"/>
                    <a:ext cx="648072" cy="576064"/>
                  </a:xfrm>
                  <a:prstGeom prst="rect">
                    <a:avLst/>
                  </a:prstGeom>
                  <a:solidFill>
                    <a:schemeClr val="accent1">
                      <a:lumMod val="75000"/>
                    </a:schemeClr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r>
                      <a:rPr kumimoji="0" lang="en-US" sz="120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</a:rPr>
                      <a:t>RO Tank</a:t>
                    </a:r>
                  </a:p>
                </p:txBody>
              </p:sp>
              <p:sp>
                <p:nvSpPr>
                  <p:cNvPr id="96" name="Flowchart: Delay 95"/>
                  <p:cNvSpPr/>
                  <p:nvPr>
                    <p:custDataLst>
                      <p:tags r:id="rId38"/>
                    </p:custDataLst>
                  </p:nvPr>
                </p:nvSpPr>
                <p:spPr bwMode="auto">
                  <a:xfrm rot="16200000">
                    <a:off x="3815915" y="3437986"/>
                    <a:ext cx="144016" cy="648072"/>
                  </a:xfrm>
                  <a:prstGeom prst="flowChartDelay">
                    <a:avLst/>
                  </a:prstGeom>
                  <a:solidFill>
                    <a:schemeClr val="accent1">
                      <a:lumMod val="75000"/>
                    </a:schemeClr>
                  </a:solidFill>
                  <a:ln w="9525" cap="flat" cmpd="sng" algn="ctr">
                    <a:solidFill>
                      <a:schemeClr val="tx1"/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en-US" sz="2000" b="0" i="0" u="none" strike="noStrike" cap="none" normalizeH="0" baseline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latin typeface="Arial" charset="0"/>
                    </a:endParaRPr>
                  </a:p>
                </p:txBody>
              </p:sp>
            </p:grpSp>
          </p:grpSp>
        </p:grpSp>
        <p:sp>
          <p:nvSpPr>
            <p:cNvPr id="67" name="Line 300"/>
            <p:cNvSpPr>
              <a:spLocks noChangeShapeType="1"/>
            </p:cNvSpPr>
            <p:nvPr>
              <p:custDataLst>
                <p:tags r:id="rId29"/>
              </p:custDataLst>
            </p:nvPr>
          </p:nvSpPr>
          <p:spPr bwMode="auto">
            <a:xfrm>
              <a:off x="3121837" y="3732295"/>
              <a:ext cx="226949" cy="4474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 type="stealth" w="med" len="med"/>
            </a:ln>
            <a:effectLst/>
          </p:spPr>
          <p:txBody>
            <a:bodyPr wrap="none" anchor="ctr"/>
            <a:lstStyle/>
            <a:p>
              <a:pPr algn="ctr"/>
              <a:endParaRPr lang="en-US" dirty="0"/>
            </a:p>
          </p:txBody>
        </p:sp>
      </p:grpSp>
      <p:cxnSp>
        <p:nvCxnSpPr>
          <p:cNvPr id="133" name="Straight Connector 9"/>
          <p:cNvCxnSpPr/>
          <p:nvPr/>
        </p:nvCxnSpPr>
        <p:spPr bwMode="auto">
          <a:xfrm rot="16200000" flipH="1">
            <a:off x="5003176" y="3158819"/>
            <a:ext cx="808560" cy="283592"/>
          </a:xfrm>
          <a:prstGeom prst="bentConnector2">
            <a:avLst/>
          </a:prstGeom>
          <a:noFill/>
          <a:ln w="25400">
            <a:solidFill>
              <a:srgbClr val="3E2FFD"/>
            </a:solidFill>
            <a:round/>
            <a:headEnd/>
            <a:tailEnd type="stealth" w="med" len="med"/>
          </a:ln>
          <a:effectLst/>
        </p:spPr>
      </p:cxnSp>
      <p:sp>
        <p:nvSpPr>
          <p:cNvPr id="71" name="Title 1"/>
          <p:cNvSpPr txBox="1">
            <a:spLocks/>
          </p:cNvSpPr>
          <p:nvPr/>
        </p:nvSpPr>
        <p:spPr>
          <a:xfrm>
            <a:off x="940387" y="378432"/>
            <a:ext cx="4603153" cy="41717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US" dirty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Project Implementation -1 of </a:t>
            </a:r>
            <a:r>
              <a:rPr lang="en-US" dirty="0" smtClean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6</a:t>
            </a:r>
            <a:endParaRPr lang="en-US" dirty="0">
              <a:solidFill>
                <a:srgbClr val="2875CA"/>
              </a:solidFill>
              <a:latin typeface="Britannic Bold" pitchFamily="34" charset="0"/>
              <a:ea typeface="+mj-ea"/>
              <a:cs typeface="+mj-cs"/>
            </a:endParaRPr>
          </a:p>
        </p:txBody>
      </p:sp>
      <p:grpSp>
        <p:nvGrpSpPr>
          <p:cNvPr id="76" name="Group 75"/>
          <p:cNvGrpSpPr/>
          <p:nvPr/>
        </p:nvGrpSpPr>
        <p:grpSpPr>
          <a:xfrm rot="264182">
            <a:off x="86596" y="91470"/>
            <a:ext cx="777240" cy="777240"/>
            <a:chOff x="3728638" y="1092389"/>
            <a:chExt cx="914400" cy="914400"/>
          </a:xfrm>
        </p:grpSpPr>
        <p:grpSp>
          <p:nvGrpSpPr>
            <p:cNvPr id="77" name="Group 76"/>
            <p:cNvGrpSpPr/>
            <p:nvPr/>
          </p:nvGrpSpPr>
          <p:grpSpPr>
            <a:xfrm>
              <a:off x="3728638" y="1092389"/>
              <a:ext cx="914400" cy="914400"/>
              <a:chOff x="2378075" y="502896"/>
              <a:chExt cx="2066925" cy="2066925"/>
            </a:xfrm>
          </p:grpSpPr>
          <p:grpSp>
            <p:nvGrpSpPr>
              <p:cNvPr id="90" name="Group 28"/>
              <p:cNvGrpSpPr>
                <a:grpSpLocks/>
              </p:cNvGrpSpPr>
              <p:nvPr/>
            </p:nvGrpSpPr>
            <p:grpSpPr bwMode="auto">
              <a:xfrm>
                <a:off x="2378075" y="502896"/>
                <a:ext cx="2066925" cy="2066925"/>
                <a:chOff x="2333625" y="219075"/>
                <a:chExt cx="2066236" cy="2066236"/>
              </a:xfrm>
            </p:grpSpPr>
            <p:grpSp>
              <p:nvGrpSpPr>
                <p:cNvPr id="104" name="Group 154"/>
                <p:cNvGrpSpPr>
                  <a:grpSpLocks/>
                </p:cNvGrpSpPr>
                <p:nvPr/>
              </p:nvGrpSpPr>
              <p:grpSpPr bwMode="auto">
                <a:xfrm>
                  <a:off x="2333625" y="219075"/>
                  <a:ext cx="2066236" cy="2066236"/>
                  <a:chOff x="2844111" y="1118742"/>
                  <a:chExt cx="3508375" cy="3508375"/>
                </a:xfrm>
              </p:grpSpPr>
              <p:sp>
                <p:nvSpPr>
                  <p:cNvPr id="106" name="Freeform 6"/>
                  <p:cNvSpPr>
                    <a:spLocks noEditPoints="1"/>
                  </p:cNvSpPr>
                  <p:nvPr>
                    <p:custDataLst>
                      <p:tags r:id="rId28"/>
                    </p:custDataLst>
                  </p:nvPr>
                </p:nvSpPr>
                <p:spPr bwMode="gray">
                  <a:xfrm rot="3600000">
                    <a:off x="2844111" y="1118742"/>
                    <a:ext cx="3508375" cy="3508375"/>
                  </a:xfrm>
                  <a:custGeom>
                    <a:avLst/>
                    <a:gdLst/>
                    <a:ahLst/>
                    <a:cxnLst>
                      <a:cxn ang="0">
                        <a:pos x="292" y="0"/>
                      </a:cxn>
                      <a:cxn ang="0">
                        <a:pos x="0" y="293"/>
                      </a:cxn>
                      <a:cxn ang="0">
                        <a:pos x="292" y="585"/>
                      </a:cxn>
                      <a:cxn ang="0">
                        <a:pos x="585" y="293"/>
                      </a:cxn>
                      <a:cxn ang="0">
                        <a:pos x="292" y="0"/>
                      </a:cxn>
                      <a:cxn ang="0">
                        <a:pos x="292" y="539"/>
                      </a:cxn>
                      <a:cxn ang="0">
                        <a:pos x="46" y="293"/>
                      </a:cxn>
                      <a:cxn ang="0">
                        <a:pos x="292" y="46"/>
                      </a:cxn>
                      <a:cxn ang="0">
                        <a:pos x="539" y="293"/>
                      </a:cxn>
                      <a:cxn ang="0">
                        <a:pos x="292" y="539"/>
                      </a:cxn>
                    </a:cxnLst>
                    <a:rect l="0" t="0" r="r" b="b"/>
                    <a:pathLst>
                      <a:path w="585" h="585">
                        <a:moveTo>
                          <a:pt x="292" y="0"/>
                        </a:moveTo>
                        <a:cubicBezTo>
                          <a:pt x="131" y="0"/>
                          <a:pt x="0" y="131"/>
                          <a:pt x="0" y="293"/>
                        </a:cubicBezTo>
                        <a:cubicBezTo>
                          <a:pt x="0" y="454"/>
                          <a:pt x="131" y="585"/>
                          <a:pt x="292" y="585"/>
                        </a:cubicBezTo>
                        <a:cubicBezTo>
                          <a:pt x="454" y="585"/>
                          <a:pt x="585" y="454"/>
                          <a:pt x="585" y="293"/>
                        </a:cubicBezTo>
                        <a:cubicBezTo>
                          <a:pt x="585" y="131"/>
                          <a:pt x="454" y="0"/>
                          <a:pt x="292" y="0"/>
                        </a:cubicBezTo>
                        <a:close/>
                        <a:moveTo>
                          <a:pt x="292" y="539"/>
                        </a:moveTo>
                        <a:cubicBezTo>
                          <a:pt x="156" y="539"/>
                          <a:pt x="46" y="429"/>
                          <a:pt x="46" y="293"/>
                        </a:cubicBezTo>
                        <a:cubicBezTo>
                          <a:pt x="46" y="156"/>
                          <a:pt x="156" y="46"/>
                          <a:pt x="292" y="46"/>
                        </a:cubicBezTo>
                        <a:cubicBezTo>
                          <a:pt x="429" y="46"/>
                          <a:pt x="539" y="156"/>
                          <a:pt x="539" y="293"/>
                        </a:cubicBezTo>
                        <a:cubicBezTo>
                          <a:pt x="539" y="429"/>
                          <a:pt x="429" y="539"/>
                          <a:pt x="292" y="539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4"/>
                  </a:lnRef>
                  <a:fillRef idx="3">
                    <a:schemeClr val="accent4"/>
                  </a:fillRef>
                  <a:effectRef idx="3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sz="900"/>
                  </a:p>
                </p:txBody>
              </p:sp>
              <p:sp>
                <p:nvSpPr>
                  <p:cNvPr id="107" name="Ellipse 12"/>
                  <p:cNvSpPr>
                    <a:spLocks noChangeArrowheads="1"/>
                  </p:cNvSpPr>
                  <p:nvPr/>
                </p:nvSpPr>
                <p:spPr bwMode="auto">
                  <a:xfrm>
                    <a:off x="3948899" y="2247780"/>
                    <a:ext cx="1279938" cy="127993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353637"/>
                      </a:gs>
                      <a:gs pos="100000">
                        <a:srgbClr val="151616"/>
                      </a:gs>
                    </a:gsLst>
                    <a:path path="shape">
                      <a:fillToRect l="50000" t="50000" r="50000" b="50000"/>
                    </a:path>
                  </a:gradFill>
                  <a:ln w="9525">
                    <a:solidFill>
                      <a:srgbClr val="191919"/>
                    </a:solidFill>
                    <a:round/>
                    <a:headEnd/>
                    <a:tailEnd/>
                  </a:ln>
                  <a:effectLst>
                    <a:outerShdw dist="23000" dir="5400000" rotWithShape="0">
                      <a:srgbClr val="808080">
                        <a:alpha val="34999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latin typeface="Calibri" charset="0"/>
                    </a:endParaRPr>
                  </a:p>
                </p:txBody>
              </p:sp>
              <p:sp>
                <p:nvSpPr>
                  <p:cNvPr id="109" name="Ellipse 13"/>
                  <p:cNvSpPr/>
                  <p:nvPr/>
                </p:nvSpPr>
                <p:spPr bwMode="auto">
                  <a:xfrm>
                    <a:off x="4118660" y="2304368"/>
                    <a:ext cx="940416" cy="692512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tx2">
                          <a:lumMod val="40000"/>
                          <a:lumOff val="60000"/>
                          <a:alpha val="0"/>
                        </a:schemeClr>
                      </a:gs>
                      <a:gs pos="100000">
                        <a:schemeClr val="bg1">
                          <a:alpha val="77000"/>
                        </a:schemeClr>
                      </a:gs>
                    </a:gsLst>
                    <a:lin ang="162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ea typeface="ＭＳ Ｐゴシック" charset="-128"/>
                    </a:endParaRPr>
                  </a:p>
                </p:txBody>
              </p:sp>
              <p:sp>
                <p:nvSpPr>
                  <p:cNvPr id="110" name="Block Arc 109"/>
                  <p:cNvSpPr/>
                  <p:nvPr/>
                </p:nvSpPr>
                <p:spPr>
                  <a:xfrm rot="18729919">
                    <a:off x="3230788" y="1508111"/>
                    <a:ext cx="2726940" cy="2729633"/>
                  </a:xfrm>
                  <a:prstGeom prst="blockArc">
                    <a:avLst>
                      <a:gd name="adj1" fmla="val 574634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900"/>
                  </a:p>
                </p:txBody>
              </p:sp>
              <p:sp>
                <p:nvSpPr>
                  <p:cNvPr id="111" name="Block Arc 110"/>
                  <p:cNvSpPr/>
                  <p:nvPr/>
                </p:nvSpPr>
                <p:spPr>
                  <a:xfrm rot="1352524">
                    <a:off x="3229440" y="1509459"/>
                    <a:ext cx="2729633" cy="2726940"/>
                  </a:xfrm>
                  <a:prstGeom prst="blockArc">
                    <a:avLst>
                      <a:gd name="adj1" fmla="val 596470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112" name="Block Arc 111"/>
                  <p:cNvSpPr/>
                  <p:nvPr/>
                </p:nvSpPr>
                <p:spPr>
                  <a:xfrm rot="5869595">
                    <a:off x="3230788" y="1508111"/>
                    <a:ext cx="2726940" cy="2729633"/>
                  </a:xfrm>
                  <a:prstGeom prst="blockArc">
                    <a:avLst>
                      <a:gd name="adj1" fmla="val 5627424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114" name="Block Arc 113"/>
                  <p:cNvSpPr/>
                  <p:nvPr/>
                </p:nvSpPr>
                <p:spPr>
                  <a:xfrm rot="10291675">
                    <a:off x="3229440" y="1509459"/>
                    <a:ext cx="2729633" cy="2726940"/>
                  </a:xfrm>
                  <a:prstGeom prst="blockArc">
                    <a:avLst>
                      <a:gd name="adj1" fmla="val 5803831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115" name="Block Arc 114"/>
                  <p:cNvSpPr/>
                  <p:nvPr/>
                </p:nvSpPr>
                <p:spPr>
                  <a:xfrm rot="14301489">
                    <a:off x="3230788" y="1508111"/>
                    <a:ext cx="2726940" cy="2729633"/>
                  </a:xfrm>
                  <a:prstGeom prst="blockArc">
                    <a:avLst>
                      <a:gd name="adj1" fmla="val 6140645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</p:grpSp>
            <p:sp>
              <p:nvSpPr>
                <p:cNvPr id="105" name="Ellipse 15"/>
                <p:cNvSpPr/>
                <p:nvPr/>
              </p:nvSpPr>
              <p:spPr bwMode="auto">
                <a:xfrm>
                  <a:off x="2763695" y="465055"/>
                  <a:ext cx="1237837" cy="91568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900" dirty="0"/>
                </a:p>
              </p:txBody>
            </p:sp>
          </p:grpSp>
          <p:sp>
            <p:nvSpPr>
              <p:cNvPr id="97" name="TextBox 29"/>
              <p:cNvSpPr txBox="1">
                <a:spLocks noChangeArrowheads="1"/>
              </p:cNvSpPr>
              <p:nvPr/>
            </p:nvSpPr>
            <p:spPr bwMode="auto">
              <a:xfrm>
                <a:off x="2754110" y="771753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D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99" name="TextBox 29"/>
              <p:cNvSpPr txBox="1">
                <a:spLocks noChangeArrowheads="1"/>
              </p:cNvSpPr>
              <p:nvPr/>
            </p:nvSpPr>
            <p:spPr bwMode="auto">
              <a:xfrm>
                <a:off x="2584640" y="1514847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M</a:t>
                </a:r>
              </a:p>
            </p:txBody>
          </p:sp>
          <p:sp>
            <p:nvSpPr>
              <p:cNvPr id="100" name="TextBox 29"/>
              <p:cNvSpPr txBox="1">
                <a:spLocks noChangeArrowheads="1"/>
              </p:cNvSpPr>
              <p:nvPr/>
            </p:nvSpPr>
            <p:spPr bwMode="auto">
              <a:xfrm>
                <a:off x="3253164" y="1880209"/>
                <a:ext cx="289718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A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101" name="TextBox 29"/>
              <p:cNvSpPr txBox="1">
                <a:spLocks noChangeArrowheads="1"/>
              </p:cNvSpPr>
              <p:nvPr/>
            </p:nvSpPr>
            <p:spPr bwMode="auto">
              <a:xfrm>
                <a:off x="3844923" y="13567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I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103" name="TextBox 29"/>
              <p:cNvSpPr txBox="1">
                <a:spLocks noChangeArrowheads="1"/>
              </p:cNvSpPr>
              <p:nvPr/>
            </p:nvSpPr>
            <p:spPr bwMode="auto">
              <a:xfrm>
                <a:off x="3487620" y="7158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C</a:t>
                </a:r>
              </a:p>
            </p:txBody>
          </p:sp>
        </p:grpSp>
        <p:sp>
          <p:nvSpPr>
            <p:cNvPr id="89" name="TextBox 29"/>
            <p:cNvSpPr txBox="1">
              <a:spLocks noChangeArrowheads="1"/>
            </p:cNvSpPr>
            <p:nvPr/>
          </p:nvSpPr>
          <p:spPr bwMode="auto">
            <a:xfrm rot="21335818">
              <a:off x="4093795" y="1350066"/>
              <a:ext cx="128171" cy="398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da-DK" sz="1600" b="1" dirty="0" smtClean="0">
                  <a:solidFill>
                    <a:schemeClr val="bg1"/>
                  </a:solidFill>
                </a:rPr>
                <a:t>I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17" name="Line 31000000000"/>
          <p:cNvSpPr>
            <a:spLocks noChangeShapeType="1"/>
          </p:cNvSpPr>
          <p:nvPr>
            <p:custDataLst>
              <p:tags r:id="rId24"/>
            </p:custDataLst>
          </p:nvPr>
        </p:nvSpPr>
        <p:spPr bwMode="auto">
          <a:xfrm>
            <a:off x="1679879" y="2044078"/>
            <a:ext cx="0" cy="379582"/>
          </a:xfrm>
          <a:prstGeom prst="line">
            <a:avLst/>
          </a:prstGeom>
          <a:noFill/>
          <a:ln w="25400">
            <a:solidFill>
              <a:srgbClr val="0000FF"/>
            </a:solidFill>
            <a:round/>
            <a:headEnd/>
            <a:tailEnd type="stealth" w="med" len="med"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sp>
        <p:nvSpPr>
          <p:cNvPr id="120" name="Line 13"/>
          <p:cNvSpPr>
            <a:spLocks noChangeShapeType="1"/>
          </p:cNvSpPr>
          <p:nvPr>
            <p:custDataLst>
              <p:tags r:id="rId25"/>
            </p:custDataLst>
          </p:nvPr>
        </p:nvSpPr>
        <p:spPr bwMode="auto">
          <a:xfrm>
            <a:off x="5082639" y="2885704"/>
            <a:ext cx="185790" cy="1464"/>
          </a:xfrm>
          <a:prstGeom prst="line">
            <a:avLst/>
          </a:prstGeom>
          <a:noFill/>
          <a:ln w="25400">
            <a:solidFill>
              <a:srgbClr val="0000FF"/>
            </a:solidFill>
            <a:round/>
            <a:headEnd/>
            <a:tailEnd type="stealth" w="med" len="med"/>
          </a:ln>
          <a:effectLst/>
        </p:spPr>
        <p:txBody>
          <a:bodyPr wrap="square" lIns="97256" tIns="48628" rIns="97256" bIns="48628">
            <a:spAutoFit/>
          </a:bodyPr>
          <a:lstStyle/>
          <a:p>
            <a:endParaRPr lang="en-US" dirty="0"/>
          </a:p>
        </p:txBody>
      </p:sp>
      <p:sp>
        <p:nvSpPr>
          <p:cNvPr id="131" name="Line 31000000000"/>
          <p:cNvSpPr>
            <a:spLocks noChangeShapeType="1"/>
          </p:cNvSpPr>
          <p:nvPr>
            <p:custDataLst>
              <p:tags r:id="rId26"/>
            </p:custDataLst>
          </p:nvPr>
        </p:nvSpPr>
        <p:spPr bwMode="auto">
          <a:xfrm flipH="1">
            <a:off x="3495675" y="3699825"/>
            <a:ext cx="1128" cy="1034100"/>
          </a:xfrm>
          <a:prstGeom prst="line">
            <a:avLst/>
          </a:prstGeom>
          <a:noFill/>
          <a:ln w="25400">
            <a:solidFill>
              <a:srgbClr val="0000FF"/>
            </a:solidFill>
            <a:round/>
            <a:headEnd/>
            <a:tailEnd type="stealth" w="med" len="med"/>
          </a:ln>
          <a:effectLst/>
        </p:spPr>
        <p:txBody>
          <a:bodyPr wrap="none" anchor="ctr"/>
          <a:lstStyle/>
          <a:p>
            <a:endParaRPr lang="en-US" dirty="0"/>
          </a:p>
        </p:txBody>
      </p:sp>
      <p:cxnSp>
        <p:nvCxnSpPr>
          <p:cNvPr id="139" name="Straight Connector 9"/>
          <p:cNvCxnSpPr/>
          <p:nvPr/>
        </p:nvCxnSpPr>
        <p:spPr bwMode="auto">
          <a:xfrm flipV="1">
            <a:off x="1257300" y="3209925"/>
            <a:ext cx="2400300" cy="342900"/>
          </a:xfrm>
          <a:prstGeom prst="bentConnector3">
            <a:avLst>
              <a:gd name="adj1" fmla="val 100000"/>
            </a:avLst>
          </a:prstGeom>
          <a:noFill/>
          <a:ln w="25400">
            <a:solidFill>
              <a:srgbClr val="3E2FFD"/>
            </a:solidFill>
            <a:round/>
            <a:headEnd/>
            <a:tailEnd type="stealth" w="med" len="med"/>
          </a:ln>
          <a:effectLst/>
        </p:spPr>
      </p:cxnSp>
      <p:sp>
        <p:nvSpPr>
          <p:cNvPr id="70" name="TextBox 69"/>
          <p:cNvSpPr txBox="1"/>
          <p:nvPr>
            <p:custDataLst>
              <p:tags r:id="rId27"/>
            </p:custDataLst>
          </p:nvPr>
        </p:nvSpPr>
        <p:spPr>
          <a:xfrm>
            <a:off x="2881400" y="4262996"/>
            <a:ext cx="3042986" cy="338554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b="1" dirty="0" smtClean="0">
                <a:solidFill>
                  <a:schemeClr val="bg1"/>
                </a:solidFill>
              </a:rPr>
              <a:t>Waste Water </a:t>
            </a:r>
            <a:r>
              <a:rPr lang="en-US" sz="1600" b="1" dirty="0">
                <a:solidFill>
                  <a:schemeClr val="bg1"/>
                </a:solidFill>
              </a:rPr>
              <a:t>R</a:t>
            </a:r>
            <a:r>
              <a:rPr lang="en-US" sz="1600" b="1" dirty="0" smtClean="0">
                <a:solidFill>
                  <a:schemeClr val="bg1"/>
                </a:solidFill>
              </a:rPr>
              <a:t>eclaim </a:t>
            </a:r>
            <a:r>
              <a:rPr lang="en-US" sz="1600" b="1" dirty="0">
                <a:solidFill>
                  <a:schemeClr val="bg1"/>
                </a:solidFill>
              </a:rPr>
              <a:t>S</a:t>
            </a:r>
            <a:r>
              <a:rPr lang="en-US" sz="1600" b="1" dirty="0" smtClean="0">
                <a:solidFill>
                  <a:schemeClr val="bg1"/>
                </a:solidFill>
              </a:rPr>
              <a:t>ystem</a:t>
            </a:r>
            <a:endParaRPr lang="en-US" sz="1600" b="1" dirty="0">
              <a:solidFill>
                <a:schemeClr val="bg1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539391" y="5953998"/>
            <a:ext cx="12246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Product Water</a:t>
            </a:r>
            <a:endParaRPr lang="en-US" sz="1200" dirty="0"/>
          </a:p>
        </p:txBody>
      </p:sp>
      <p:sp>
        <p:nvSpPr>
          <p:cNvPr id="93" name="TextBox 92"/>
          <p:cNvSpPr txBox="1"/>
          <p:nvPr/>
        </p:nvSpPr>
        <p:spPr>
          <a:xfrm>
            <a:off x="288090" y="6116223"/>
            <a:ext cx="12246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/>
              <a:t>Reject Water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xmlns="" val="18579423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0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500"/>
                                        <p:tgtEl>
                                          <p:spTgt spid="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1" dur="500"/>
                                        <p:tgtEl>
                                          <p:spTgt spid="1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7" dur="5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0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3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6" dur="500"/>
                                        <p:tgtEl>
                                          <p:spTgt spid="1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99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2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5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9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1" dur="5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2" fill="hold">
                      <p:stCondLst>
                        <p:cond delay="indefinite"/>
                      </p:stCondLst>
                      <p:childTnLst>
                        <p:par>
                          <p:cTn id="113" fill="hold">
                            <p:stCondLst>
                              <p:cond delay="0"/>
                            </p:stCondLst>
                            <p:childTnLst>
                              <p:par>
                                <p:cTn id="11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6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26" presetClass="emph" presetSubtype="0" repeatCount="200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8" dur="500" tmFilter="0, 0; .2, .5; .8, .5; 1, 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119" dur="250" autoRev="1" fill="hold"/>
                                        <p:tgtEl>
                                          <p:spTgt spid="8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1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500"/>
                                        <p:tgtEl>
                                          <p:spTgt spid="9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36" grpId="0" animBg="1"/>
      <p:bldP spid="37" grpId="0" animBg="1"/>
      <p:bldP spid="39" grpId="0" animBg="1"/>
      <p:bldP spid="40" grpId="0" animBg="1"/>
      <p:bldP spid="41" grpId="0" animBg="1"/>
      <p:bldP spid="42" grpId="0" animBg="1"/>
      <p:bldP spid="43" grpId="0" animBg="1"/>
      <p:bldP spid="47" grpId="0"/>
      <p:bldP spid="51" grpId="0" animBg="1"/>
      <p:bldP spid="53" grpId="0" animBg="1"/>
      <p:bldP spid="54" grpId="0" animBg="1"/>
      <p:bldP spid="64" grpId="0" animBg="1"/>
      <p:bldP spid="68" grpId="0" animBg="1"/>
      <p:bldP spid="69" grpId="0" animBg="1"/>
      <p:bldP spid="83" grpId="0" animBg="1"/>
      <p:bldP spid="84" grpId="0" animBg="1"/>
      <p:bldP spid="85" grpId="0" animBg="1"/>
      <p:bldP spid="87" grpId="0" animBg="1"/>
      <p:bldP spid="88" grpId="0" animBg="1"/>
      <p:bldP spid="88" grpId="1" animBg="1"/>
      <p:bldP spid="91" grpId="0" animBg="1"/>
      <p:bldP spid="92" grpId="0" animBg="1"/>
      <p:bldP spid="117" grpId="0" animBg="1"/>
      <p:bldP spid="120" grpId="0" animBg="1"/>
      <p:bldP spid="131" grpId="0" animBg="1"/>
      <p:bldP spid="70" grpId="0" animBg="1"/>
      <p:bldP spid="21" grpId="0"/>
      <p:bldP spid="9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0" name="Picture 109"/>
          <p:cNvPicPr>
            <a:picLocks noChangeAspect="1"/>
          </p:cNvPicPr>
          <p:nvPr/>
        </p:nvPicPr>
        <p:blipFill rotWithShape="1">
          <a:blip r:embed="rId4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9285" b="15900"/>
          <a:stretch/>
        </p:blipFill>
        <p:spPr>
          <a:xfrm>
            <a:off x="-3934" y="6010275"/>
            <a:ext cx="9144000" cy="847724"/>
          </a:xfrm>
          <a:prstGeom prst="rect">
            <a:avLst/>
          </a:prstGeom>
        </p:spPr>
      </p:pic>
      <p:sp>
        <p:nvSpPr>
          <p:cNvPr id="108" name="Rectangle 107"/>
          <p:cNvSpPr/>
          <p:nvPr/>
        </p:nvSpPr>
        <p:spPr bwMode="auto">
          <a:xfrm>
            <a:off x="0" y="1576044"/>
            <a:ext cx="9143999" cy="4694128"/>
          </a:xfrm>
          <a:prstGeom prst="rect">
            <a:avLst/>
          </a:prstGeom>
          <a:gradFill>
            <a:gsLst>
              <a:gs pos="0">
                <a:schemeClr val="bg2"/>
              </a:gs>
              <a:gs pos="4000">
                <a:schemeClr val="bg2">
                  <a:lumMod val="60000"/>
                  <a:lumOff val="40000"/>
                </a:schemeClr>
              </a:gs>
              <a:gs pos="31000">
                <a:schemeClr val="accent4">
                  <a:lumMod val="60000"/>
                  <a:lumOff val="40000"/>
                </a:schemeClr>
              </a:gs>
              <a:gs pos="90000">
                <a:schemeClr val="bg1"/>
              </a:gs>
            </a:gsLst>
            <a:lin ang="162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softEdge rad="317500"/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52" name="AutoShape 4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00831" y="2373650"/>
            <a:ext cx="282480" cy="888938"/>
          </a:xfrm>
          <a:prstGeom prst="downArrowCallout">
            <a:avLst>
              <a:gd name="adj1" fmla="val 25000"/>
              <a:gd name="adj2" fmla="val 25000"/>
              <a:gd name="adj3" fmla="val 48980"/>
              <a:gd name="adj4" fmla="val 66667"/>
            </a:avLst>
          </a:prstGeom>
          <a:noFill/>
          <a:ln w="9525">
            <a:noFill/>
            <a:miter lim="800000"/>
            <a:headEnd/>
            <a:tailEnd/>
          </a:ln>
        </p:spPr>
        <p:txBody>
          <a:bodyPr wrap="none" lIns="97256" tIns="48628" rIns="97256" bIns="48628" anchor="ctr">
            <a:spAutoFit/>
          </a:bodyPr>
          <a:lstStyle/>
          <a:p>
            <a:endParaRPr lang="en-SG" dirty="0"/>
          </a:p>
        </p:txBody>
      </p:sp>
      <p:pic>
        <p:nvPicPr>
          <p:cNvPr id="100" name="Picture 2"/>
          <p:cNvPicPr>
            <a:picLocks noChangeAspect="1" noChangeArrowheads="1"/>
          </p:cNvPicPr>
          <p:nvPr/>
        </p:nvPicPr>
        <p:blipFill>
          <a:blip r:embed="rId5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91470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5" name="Group 104"/>
          <p:cNvGrpSpPr/>
          <p:nvPr/>
        </p:nvGrpSpPr>
        <p:grpSpPr>
          <a:xfrm>
            <a:off x="12726" y="970841"/>
            <a:ext cx="9144000" cy="400759"/>
            <a:chOff x="0" y="0"/>
            <a:chExt cx="9144000" cy="556968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07" name="Rectangle 106"/>
            <p:cNvSpPr/>
            <p:nvPr/>
          </p:nvSpPr>
          <p:spPr>
            <a:xfrm>
              <a:off x="0" y="0"/>
              <a:ext cx="9144000" cy="556968"/>
            </a:xfrm>
            <a:prstGeom prst="rect">
              <a:avLst/>
            </a:prstGeom>
            <a:sp3d prstMaterial="plastic">
              <a:bevelT w="127000" h="25400" prst="relaxedInset"/>
              <a:bevelB w="88900" h="121750" prst="angle"/>
            </a:sp3d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shade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shade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6" name="Rectangle 115"/>
            <p:cNvSpPr/>
            <p:nvPr/>
          </p:nvSpPr>
          <p:spPr>
            <a:xfrm>
              <a:off x="0" y="0"/>
              <a:ext cx="9144000" cy="55696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algn="ctr"/>
              <a:r>
                <a:rPr lang="en-US" sz="2400" dirty="0"/>
                <a:t>Waste Water Reclaim System Schematic (WWRS)</a:t>
              </a:r>
              <a:endParaRPr lang="en-US" sz="2600" b="1" dirty="0"/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130629" y="1512968"/>
            <a:ext cx="8824051" cy="4761260"/>
            <a:chOff x="130629" y="1512968"/>
            <a:chExt cx="8824051" cy="4761260"/>
          </a:xfrm>
        </p:grpSpPr>
        <p:sp>
          <p:nvSpPr>
            <p:cNvPr id="109" name="Text Box 67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448043" y="2890098"/>
              <a:ext cx="1410207" cy="276999"/>
            </a:xfrm>
            <a:prstGeom prst="rect">
              <a:avLst/>
            </a:prstGeom>
            <a:noFill/>
            <a:ln w="25400" algn="ctr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US" sz="1200" b="1" dirty="0" smtClean="0"/>
                <a:t>Product Water</a:t>
              </a:r>
              <a:endParaRPr lang="en-US" sz="1200" b="1" dirty="0"/>
            </a:p>
          </p:txBody>
        </p:sp>
        <p:grpSp>
          <p:nvGrpSpPr>
            <p:cNvPr id="14" name="Group 13"/>
            <p:cNvGrpSpPr/>
            <p:nvPr/>
          </p:nvGrpSpPr>
          <p:grpSpPr>
            <a:xfrm>
              <a:off x="130629" y="1512968"/>
              <a:ext cx="8824051" cy="4761260"/>
              <a:chOff x="467544" y="1090422"/>
              <a:chExt cx="8336089" cy="4972788"/>
            </a:xfrm>
          </p:grpSpPr>
          <p:sp>
            <p:nvSpPr>
              <p:cNvPr id="16" name="Rectangle 15"/>
              <p:cNvSpPr/>
              <p:nvPr>
                <p:custDataLst>
                  <p:tags r:id="rId6"/>
                </p:custDataLst>
              </p:nvPr>
            </p:nvSpPr>
            <p:spPr bwMode="auto">
              <a:xfrm>
                <a:off x="467544" y="1090422"/>
                <a:ext cx="6912768" cy="4968552"/>
              </a:xfrm>
              <a:prstGeom prst="rect">
                <a:avLst/>
              </a:prstGeom>
              <a:noFill/>
              <a:ln w="19050" cap="flat" cmpd="sng" algn="ctr">
                <a:solidFill>
                  <a:schemeClr val="tx1"/>
                </a:solidFill>
                <a:prstDash val="sysDot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000" b="0" i="0" u="none" strike="noStrike" cap="none" normalizeH="0" baseline="0" dirty="0" smtClean="0">
                  <a:ln>
                    <a:noFill/>
                  </a:ln>
                  <a:solidFill>
                    <a:srgbClr val="000000"/>
                  </a:solidFill>
                  <a:effectLst/>
                  <a:latin typeface="Arial" charset="0"/>
                </a:endParaRPr>
              </a:p>
            </p:txBody>
          </p:sp>
          <p:grpSp>
            <p:nvGrpSpPr>
              <p:cNvPr id="17" name="Group 16"/>
              <p:cNvGrpSpPr/>
              <p:nvPr/>
            </p:nvGrpSpPr>
            <p:grpSpPr>
              <a:xfrm>
                <a:off x="632084" y="1159330"/>
                <a:ext cx="8171549" cy="4903880"/>
                <a:chOff x="632084" y="1159330"/>
                <a:chExt cx="8171549" cy="4903880"/>
              </a:xfrm>
            </p:grpSpPr>
            <p:sp>
              <p:nvSpPr>
                <p:cNvPr id="18" name="Line 23"/>
                <p:cNvSpPr>
                  <a:spLocks noChangeShapeType="1"/>
                </p:cNvSpPr>
                <p:nvPr>
                  <p:custDataLst>
                    <p:tags r:id="rId7"/>
                  </p:custDataLst>
                </p:nvPr>
              </p:nvSpPr>
              <p:spPr bwMode="auto">
                <a:xfrm>
                  <a:off x="912691" y="2646814"/>
                  <a:ext cx="0" cy="205258"/>
                </a:xfrm>
                <a:prstGeom prst="line">
                  <a:avLst/>
                </a:prstGeom>
                <a:noFill/>
                <a:ln w="19050">
                  <a:solidFill>
                    <a:srgbClr val="000000"/>
                  </a:solidFill>
                  <a:round/>
                  <a:headEnd/>
                  <a:tailEnd type="triangle" w="med" len="med"/>
                </a:ln>
              </p:spPr>
              <p:txBody>
                <a:bodyPr/>
                <a:lstStyle/>
                <a:p>
                  <a:endParaRPr lang="en-US" dirty="0"/>
                </a:p>
              </p:txBody>
            </p:sp>
            <p:grpSp>
              <p:nvGrpSpPr>
                <p:cNvPr id="19" name="Group 18"/>
                <p:cNvGrpSpPr/>
                <p:nvPr/>
              </p:nvGrpSpPr>
              <p:grpSpPr>
                <a:xfrm>
                  <a:off x="632084" y="1159330"/>
                  <a:ext cx="8171549" cy="4903880"/>
                  <a:chOff x="632084" y="1159330"/>
                  <a:chExt cx="8171549" cy="4903880"/>
                </a:xfrm>
              </p:grpSpPr>
              <p:sp>
                <p:nvSpPr>
                  <p:cNvPr id="20" name="Rounded Rectangle 19"/>
                  <p:cNvSpPr/>
                  <p:nvPr>
                    <p:custDataLst>
                      <p:tags r:id="rId8"/>
                    </p:custDataLst>
                  </p:nvPr>
                </p:nvSpPr>
                <p:spPr bwMode="auto">
                  <a:xfrm>
                    <a:off x="632084" y="1222873"/>
                    <a:ext cx="917824" cy="694822"/>
                  </a:xfrm>
                  <a:prstGeom prst="roundRect">
                    <a:avLst/>
                  </a:prstGeom>
                  <a:solidFill>
                    <a:schemeClr val="accent5">
                      <a:lumMod val="60000"/>
                      <a:lumOff val="40000"/>
                      <a:alpha val="54000"/>
                    </a:schemeClr>
                  </a:solidFill>
                  <a:ln w="19050" cap="flat" cmpd="sng" algn="ctr">
                    <a:solidFill>
                      <a:schemeClr val="accent5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 vert="horz" wrap="square" lIns="91440" tIns="45720" rIns="91440" bIns="45720" numCol="1" rtlCol="0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algn="ctr"/>
                    <a:r>
                      <a:rPr lang="en-US" sz="1200" dirty="0"/>
                      <a:t>Wafer Thinning Tools </a:t>
                    </a:r>
                  </a:p>
                  <a:p>
                    <a:pPr marL="0" marR="0" indent="0" algn="ctr" defTabSz="914400" rtl="0" eaLnBrk="1" fontAlgn="base" latinLnBrk="0" hangingPunct="1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tabLst/>
                    </a:pPr>
                    <a:endParaRPr kumimoji="0" lang="en-US" sz="1200" b="0" i="0" u="none" strike="noStrike" cap="none" normalizeH="0" baseline="0" dirty="0" smtClean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</a:endParaRPr>
                  </a:p>
                </p:txBody>
              </p:sp>
              <p:grpSp>
                <p:nvGrpSpPr>
                  <p:cNvPr id="21" name="Group 20"/>
                  <p:cNvGrpSpPr/>
                  <p:nvPr/>
                </p:nvGrpSpPr>
                <p:grpSpPr>
                  <a:xfrm>
                    <a:off x="821047" y="1159330"/>
                    <a:ext cx="7982586" cy="4903880"/>
                    <a:chOff x="821047" y="1159330"/>
                    <a:chExt cx="7982586" cy="4903880"/>
                  </a:xfrm>
                </p:grpSpPr>
                <p:grpSp>
                  <p:nvGrpSpPr>
                    <p:cNvPr id="24" name="Group 1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1741107" y="3592524"/>
                      <a:ext cx="315455" cy="411415"/>
                      <a:chOff x="229" y="199"/>
                      <a:chExt cx="48" cy="58"/>
                    </a:xfrm>
                  </p:grpSpPr>
                  <p:sp>
                    <p:nvSpPr>
                      <p:cNvPr id="101" name="AutoShape 13"/>
                      <p:cNvSpPr>
                        <a:spLocks noChangeArrowheads="1"/>
                      </p:cNvSpPr>
                      <p:nvPr/>
                    </p:nvSpPr>
                    <p:spPr bwMode="auto">
                      <a:xfrm flipV="1">
                        <a:off x="231" y="199"/>
                        <a:ext cx="44" cy="41"/>
                      </a:xfrm>
                      <a:prstGeom prst="flowChartMagneticTape">
                        <a:avLst/>
                      </a:prstGeom>
                      <a:solidFill>
                        <a:srgbClr val="FFFFFF"/>
                      </a:solidFill>
                      <a:ln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SG" dirty="0"/>
                      </a:p>
                    </p:txBody>
                  </p:sp>
                  <p:sp>
                    <p:nvSpPr>
                      <p:cNvPr id="102" name="Line 14"/>
                      <p:cNvSpPr>
                        <a:spLocks noChangeShapeType="1"/>
                      </p:cNvSpPr>
                      <p:nvPr/>
                    </p:nvSpPr>
                    <p:spPr bwMode="auto">
                      <a:xfrm flipH="1">
                        <a:off x="234" y="241"/>
                        <a:ext cx="11" cy="13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103" name="Line 15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229" y="256"/>
                        <a:ext cx="48" cy="0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104" name="Line 16"/>
                      <p:cNvSpPr>
                        <a:spLocks noChangeShapeType="1"/>
                      </p:cNvSpPr>
                      <p:nvPr/>
                    </p:nvSpPr>
                    <p:spPr bwMode="auto">
                      <a:xfrm flipH="1" flipV="1">
                        <a:off x="263" y="242"/>
                        <a:ext cx="13" cy="15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106" name="Oval 17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248" y="213"/>
                        <a:ext cx="8" cy="8"/>
                      </a:xfrm>
                      <a:prstGeom prst="ellipse">
                        <a:avLst/>
                      </a:prstGeom>
                      <a:solidFill>
                        <a:srgbClr val="FFFFFF"/>
                      </a:solidFill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SG" dirty="0"/>
                      </a:p>
                    </p:txBody>
                  </p:sp>
                </p:grpSp>
                <p:sp>
                  <p:nvSpPr>
                    <p:cNvPr id="25" name="Line 18"/>
                    <p:cNvSpPr>
                      <a:spLocks noChangeShapeType="1"/>
                    </p:cNvSpPr>
                    <p:nvPr>
                      <p:custDataLst>
                        <p:tags r:id="rId9"/>
                      </p:custDataLst>
                    </p:nvPr>
                  </p:nvSpPr>
                  <p:spPr bwMode="auto">
                    <a:xfrm>
                      <a:off x="2010905" y="3621745"/>
                      <a:ext cx="553430" cy="0"/>
                    </a:xfrm>
                    <a:prstGeom prst="line">
                      <a:avLst/>
                    </a:prstGeom>
                    <a:noFill/>
                    <a:ln w="19050">
                      <a:solidFill>
                        <a:srgbClr val="000000"/>
                      </a:solidFill>
                      <a:round/>
                      <a:headEnd/>
                      <a:tailEnd type="triangle" w="med" len="med"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7" name="Line 21"/>
                    <p:cNvSpPr>
                      <a:spLocks noChangeShapeType="1"/>
                    </p:cNvSpPr>
                    <p:nvPr>
                      <p:custDataLst>
                        <p:tags r:id="rId10"/>
                      </p:custDataLst>
                    </p:nvPr>
                  </p:nvSpPr>
                  <p:spPr bwMode="auto">
                    <a:xfrm flipV="1">
                      <a:off x="3039938" y="2657616"/>
                      <a:ext cx="0" cy="336438"/>
                    </a:xfrm>
                    <a:prstGeom prst="line">
                      <a:avLst/>
                    </a:prstGeom>
                    <a:noFill/>
                    <a:ln w="19050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8" name="Line 22"/>
                    <p:cNvSpPr>
                      <a:spLocks noChangeShapeType="1"/>
                    </p:cNvSpPr>
                    <p:nvPr>
                      <p:custDataLst>
                        <p:tags r:id="rId11"/>
                      </p:custDataLst>
                    </p:nvPr>
                  </p:nvSpPr>
                  <p:spPr bwMode="auto">
                    <a:xfrm flipH="1">
                      <a:off x="912691" y="2646814"/>
                      <a:ext cx="2118599" cy="0"/>
                    </a:xfrm>
                    <a:prstGeom prst="line">
                      <a:avLst/>
                    </a:prstGeom>
                    <a:noFill/>
                    <a:ln w="19050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9" name="Line 53"/>
                    <p:cNvSpPr>
                      <a:spLocks noChangeShapeType="1"/>
                    </p:cNvSpPr>
                    <p:nvPr>
                      <p:custDataLst>
                        <p:tags r:id="rId12"/>
                      </p:custDataLst>
                    </p:nvPr>
                  </p:nvSpPr>
                  <p:spPr bwMode="auto">
                    <a:xfrm>
                      <a:off x="821047" y="1907746"/>
                      <a:ext cx="847" cy="944327"/>
                    </a:xfrm>
                    <a:prstGeom prst="line">
                      <a:avLst/>
                    </a:prstGeom>
                    <a:noFill/>
                    <a:ln w="19050">
                      <a:solidFill>
                        <a:srgbClr val="AC0098"/>
                      </a:solidFill>
                      <a:round/>
                      <a:headEnd/>
                      <a:tailEnd type="triangle" w="med" len="med"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0" name="Text Box 56"/>
                    <p:cNvSpPr txBox="1">
                      <a:spLocks noChangeArrowheads="1"/>
                    </p:cNvSpPr>
                    <p:nvPr>
                      <p:custDataLst>
                        <p:tags r:id="rId13"/>
                      </p:custDataLst>
                    </p:nvPr>
                  </p:nvSpPr>
                  <p:spPr bwMode="auto">
                    <a:xfrm>
                      <a:off x="1474218" y="3022112"/>
                      <a:ext cx="1066108" cy="546465"/>
                    </a:xfrm>
                    <a:prstGeom prst="rect">
                      <a:avLst/>
                    </a:prstGeom>
                    <a:noFill/>
                    <a:ln w="2540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none">
                      <a:spAutoFit/>
                    </a:bodyPr>
                    <a:lstStyle/>
                    <a:p>
                      <a:pPr algn="ctr"/>
                      <a:r>
                        <a:rPr lang="en-US" sz="1400" dirty="0" smtClean="0"/>
                        <a:t>UF Transfer</a:t>
                      </a:r>
                      <a:endParaRPr lang="en-US" sz="1400" dirty="0"/>
                    </a:p>
                    <a:p>
                      <a:pPr algn="ctr"/>
                      <a:r>
                        <a:rPr lang="en-US" sz="1400" dirty="0"/>
                        <a:t>pump</a:t>
                      </a:r>
                    </a:p>
                  </p:txBody>
                </p:sp>
                <p:cxnSp>
                  <p:nvCxnSpPr>
                    <p:cNvPr id="32" name="Straight Connector 2"/>
                    <p:cNvCxnSpPr>
                      <a:cxnSpLocks noChangeShapeType="1"/>
                    </p:cNvCxnSpPr>
                    <p:nvPr>
                      <p:custDataLst>
                        <p:tags r:id="rId14"/>
                      </p:custDataLst>
                    </p:nvPr>
                  </p:nvCxnSpPr>
                  <p:spPr bwMode="auto">
                    <a:xfrm flipH="1">
                      <a:off x="4411360" y="3183880"/>
                      <a:ext cx="2003" cy="962203"/>
                    </a:xfrm>
                    <a:prstGeom prst="line">
                      <a:avLst/>
                    </a:prstGeom>
                    <a:noFill/>
                    <a:ln w="19050" algn="ctr">
                      <a:solidFill>
                        <a:srgbClr val="000000"/>
                      </a:solidFill>
                      <a:round/>
                      <a:headEnd/>
                      <a:tailEnd type="triangle" w="med" len="med"/>
                    </a:ln>
                  </p:spPr>
                </p:cxnSp>
                <p:sp>
                  <p:nvSpPr>
                    <p:cNvPr id="33" name="Rectangle 80"/>
                    <p:cNvSpPr>
                      <a:spLocks noChangeArrowheads="1"/>
                    </p:cNvSpPr>
                    <p:nvPr>
                      <p:custDataLst>
                        <p:tags r:id="rId15"/>
                      </p:custDataLst>
                    </p:nvPr>
                  </p:nvSpPr>
                  <p:spPr bwMode="auto">
                    <a:xfrm>
                      <a:off x="4150088" y="4154557"/>
                      <a:ext cx="829036" cy="1160212"/>
                    </a:xfrm>
                    <a:prstGeom prst="rect">
                      <a:avLst/>
                    </a:prstGeom>
                    <a:gradFill flip="none" rotWithShape="1">
                      <a:gsLst>
                        <a:gs pos="0">
                          <a:srgbClr val="FFEFD1"/>
                        </a:gs>
                        <a:gs pos="64999">
                          <a:srgbClr val="F0EBD5"/>
                        </a:gs>
                        <a:gs pos="100000">
                          <a:srgbClr val="D1C39F"/>
                        </a:gs>
                      </a:gsLst>
                      <a:lin ang="5400000" scaled="1"/>
                      <a:tileRect/>
                    </a:gradFill>
                    <a:ln w="15875">
                      <a:solidFill>
                        <a:srgbClr val="000000"/>
                      </a:solidFill>
                      <a:miter lim="800000"/>
                      <a:headEnd/>
                      <a:tailEnd/>
                    </a:ln>
                  </p:spPr>
                  <p:txBody>
                    <a:bodyPr anchor="ctr"/>
                    <a:lstStyle/>
                    <a:p>
                      <a:pPr algn="ctr"/>
                      <a:r>
                        <a:rPr lang="en-US" sz="1100" dirty="0" smtClean="0"/>
                        <a:t>Central Collection</a:t>
                      </a:r>
                      <a:endParaRPr lang="en-US" sz="1100" dirty="0"/>
                    </a:p>
                    <a:p>
                      <a:pPr algn="ctr"/>
                      <a:r>
                        <a:rPr lang="en-US" sz="1100" dirty="0"/>
                        <a:t>Tank</a:t>
                      </a:r>
                    </a:p>
                    <a:p>
                      <a:pPr algn="ctr"/>
                      <a:endParaRPr lang="en-US" sz="1100" dirty="0" smtClean="0"/>
                    </a:p>
                  </p:txBody>
                </p:sp>
                <p:grpSp>
                  <p:nvGrpSpPr>
                    <p:cNvPr id="36" name="Group 81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7842604" y="2790933"/>
                      <a:ext cx="596667" cy="750041"/>
                      <a:chOff x="123" y="262"/>
                      <a:chExt cx="80" cy="104"/>
                    </a:xfrm>
                  </p:grpSpPr>
                  <p:sp>
                    <p:nvSpPr>
                      <p:cNvPr id="96" name="Arc 82"/>
                      <p:cNvSpPr>
                        <a:spLocks/>
                      </p:cNvSpPr>
                      <p:nvPr/>
                    </p:nvSpPr>
                    <p:spPr bwMode="auto">
                      <a:xfrm>
                        <a:off x="123" y="262"/>
                        <a:ext cx="80" cy="18"/>
                      </a:xfrm>
                      <a:custGeom>
                        <a:avLst/>
                        <a:gdLst>
                          <a:gd name="T0" fmla="*/ 0 w 42975"/>
                          <a:gd name="T1" fmla="*/ 0 h 21600"/>
                          <a:gd name="T2" fmla="*/ 0 w 42975"/>
                          <a:gd name="T3" fmla="*/ 0 h 21600"/>
                          <a:gd name="T4" fmla="*/ 0 w 42975"/>
                          <a:gd name="T5" fmla="*/ 0 h 21600"/>
                          <a:gd name="T6" fmla="*/ 0 60000 65536"/>
                          <a:gd name="T7" fmla="*/ 0 60000 65536"/>
                          <a:gd name="T8" fmla="*/ 0 60000 65536"/>
                          <a:gd name="T9" fmla="*/ 0 w 42975"/>
                          <a:gd name="T10" fmla="*/ 0 h 21600"/>
                          <a:gd name="T11" fmla="*/ 42975 w 42975"/>
                          <a:gd name="T12" fmla="*/ 21600 h 21600"/>
                        </a:gdLst>
                        <a:ahLst/>
                        <a:cxnLst>
                          <a:cxn ang="T6">
                            <a:pos x="T0" y="T1"/>
                          </a:cxn>
                          <a:cxn ang="T7">
                            <a:pos x="T2" y="T3"/>
                          </a:cxn>
                          <a:cxn ang="T8">
                            <a:pos x="T4" y="T5"/>
                          </a:cxn>
                        </a:cxnLst>
                        <a:rect l="T9" t="T10" r="T11" b="T12"/>
                        <a:pathLst>
                          <a:path w="42975" h="21600" fill="none" extrusionOk="0">
                            <a:moveTo>
                              <a:pt x="0" y="18489"/>
                            </a:moveTo>
                            <a:cubicBezTo>
                              <a:pt x="1545" y="7873"/>
                              <a:pt x="10647" y="-1"/>
                              <a:pt x="21375" y="0"/>
                            </a:cubicBezTo>
                            <a:cubicBezTo>
                              <a:pt x="33304" y="0"/>
                              <a:pt x="42975" y="9670"/>
                              <a:pt x="42975" y="21600"/>
                            </a:cubicBezTo>
                          </a:path>
                          <a:path w="42975" h="21600" stroke="0" extrusionOk="0">
                            <a:moveTo>
                              <a:pt x="0" y="18489"/>
                            </a:moveTo>
                            <a:cubicBezTo>
                              <a:pt x="1545" y="7873"/>
                              <a:pt x="10647" y="-1"/>
                              <a:pt x="21375" y="0"/>
                            </a:cubicBezTo>
                            <a:cubicBezTo>
                              <a:pt x="33304" y="0"/>
                              <a:pt x="42975" y="9670"/>
                              <a:pt x="42975" y="21600"/>
                            </a:cubicBezTo>
                            <a:lnTo>
                              <a:pt x="21375" y="21600"/>
                            </a:lnTo>
                            <a:lnTo>
                              <a:pt x="0" y="18489"/>
                            </a:lnTo>
                            <a:close/>
                          </a:path>
                        </a:pathLst>
                      </a:custGeom>
                      <a:gradFill flip="none" rotWithShape="1">
                        <a:gsLst>
                          <a:gs pos="0">
                            <a:srgbClr val="03D4A8"/>
                          </a:gs>
                          <a:gs pos="25000">
                            <a:srgbClr val="21D6E0"/>
                          </a:gs>
                          <a:gs pos="75000">
                            <a:srgbClr val="0087E6"/>
                          </a:gs>
                          <a:gs pos="100000">
                            <a:srgbClr val="005CBF"/>
                          </a:gs>
                        </a:gsLst>
                        <a:lin ang="5400000" scaled="0"/>
                        <a:tileRect/>
                      </a:gradFill>
                      <a:ln w="9525">
                        <a:solidFill>
                          <a:schemeClr val="accent2">
                            <a:lumMod val="75000"/>
                          </a:schemeClr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97" name="Rectangle 83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23" y="277"/>
                        <a:ext cx="80" cy="89"/>
                      </a:xfrm>
                      <a:prstGeom prst="rect">
                        <a:avLst/>
                      </a:prstGeom>
                      <a:solidFill>
                        <a:schemeClr val="bg2">
                          <a:lumMod val="75000"/>
                        </a:schemeClr>
                      </a:solidFill>
                      <a:ln w="15875">
                        <a:solidFill>
                          <a:schemeClr val="accent2">
                            <a:lumMod val="75000"/>
                          </a:schemeClr>
                        </a:solidFill>
                        <a:miter lim="800000"/>
                        <a:headEnd/>
                        <a:tailEnd/>
                      </a:ln>
                      <a:effectLst/>
                    </p:spPr>
                    <p:txBody>
                      <a:bodyPr/>
                      <a:lstStyle/>
                      <a:p>
                        <a:endParaRPr lang="en-SG" dirty="0"/>
                      </a:p>
                    </p:txBody>
                  </p:sp>
                </p:grpSp>
                <p:sp>
                  <p:nvSpPr>
                    <p:cNvPr id="37" name="Line 84"/>
                    <p:cNvSpPr>
                      <a:spLocks noChangeShapeType="1"/>
                    </p:cNvSpPr>
                    <p:nvPr>
                      <p:custDataLst>
                        <p:tags r:id="rId16"/>
                      </p:custDataLst>
                    </p:nvPr>
                  </p:nvSpPr>
                  <p:spPr bwMode="auto">
                    <a:xfrm flipV="1">
                      <a:off x="6937379" y="2852934"/>
                      <a:ext cx="936104" cy="0"/>
                    </a:xfrm>
                    <a:prstGeom prst="line">
                      <a:avLst/>
                    </a:prstGeom>
                    <a:noFill/>
                    <a:ln w="19050">
                      <a:solidFill>
                        <a:srgbClr val="3E2FFD"/>
                      </a:solidFill>
                      <a:round/>
                      <a:headEnd/>
                      <a:tailEnd type="triangle" w="med" len="med"/>
                    </a:ln>
                  </p:spPr>
                  <p:txBody>
                    <a:bodyPr wrap="none" anchor="ctr"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38" name="Text Box 85"/>
                    <p:cNvSpPr txBox="1">
                      <a:spLocks noChangeArrowheads="1"/>
                    </p:cNvSpPr>
                    <p:nvPr>
                      <p:custDataLst>
                        <p:tags r:id="rId17"/>
                      </p:custDataLst>
                    </p:nvPr>
                  </p:nvSpPr>
                  <p:spPr bwMode="auto">
                    <a:xfrm>
                      <a:off x="7691811" y="3573015"/>
                      <a:ext cx="1008112" cy="771481"/>
                    </a:xfrm>
                    <a:prstGeom prst="rect">
                      <a:avLst/>
                    </a:prstGeom>
                    <a:noFill/>
                    <a:ln w="22225" algn="ctr">
                      <a:noFill/>
                      <a:prstDash val="dash"/>
                      <a:miter lim="800000"/>
                      <a:headEnd/>
                      <a:tailEnd/>
                    </a:ln>
                  </p:spPr>
                  <p:txBody>
                    <a:bodyPr wrap="square">
                      <a:spAutoFit/>
                    </a:bodyPr>
                    <a:lstStyle/>
                    <a:p>
                      <a:pPr algn="ctr"/>
                      <a:r>
                        <a:rPr lang="en-US" sz="1400" dirty="0"/>
                        <a:t>Existing</a:t>
                      </a:r>
                    </a:p>
                    <a:p>
                      <a:pPr algn="ctr"/>
                      <a:r>
                        <a:rPr lang="en-US" sz="1400" dirty="0"/>
                        <a:t>RO </a:t>
                      </a:r>
                      <a:r>
                        <a:rPr lang="en-US" sz="1400" dirty="0" smtClean="0"/>
                        <a:t>Tank in DI Plant</a:t>
                      </a:r>
                      <a:endParaRPr lang="en-US" sz="1400" dirty="0"/>
                    </a:p>
                  </p:txBody>
                </p:sp>
                <p:grpSp>
                  <p:nvGrpSpPr>
                    <p:cNvPr id="39" name="Group 12"/>
                    <p:cNvGrpSpPr>
                      <a:grpSpLocks/>
                    </p:cNvGrpSpPr>
                    <p:nvPr/>
                  </p:nvGrpSpPr>
                  <p:grpSpPr bwMode="auto">
                    <a:xfrm>
                      <a:off x="5087628" y="4961366"/>
                      <a:ext cx="328599" cy="368848"/>
                      <a:chOff x="254" y="204"/>
                      <a:chExt cx="50" cy="52"/>
                    </a:xfrm>
                  </p:grpSpPr>
                  <p:sp>
                    <p:nvSpPr>
                      <p:cNvPr id="91" name="AutoShape 130"/>
                      <p:cNvSpPr>
                        <a:spLocks noChangeArrowheads="1"/>
                      </p:cNvSpPr>
                      <p:nvPr/>
                    </p:nvSpPr>
                    <p:spPr bwMode="auto">
                      <a:xfrm flipV="1">
                        <a:off x="255" y="204"/>
                        <a:ext cx="44" cy="41"/>
                      </a:xfrm>
                      <a:prstGeom prst="flowChartMagneticTape">
                        <a:avLst/>
                      </a:prstGeom>
                      <a:solidFill>
                        <a:srgbClr val="FFFFFF"/>
                      </a:solidFill>
                      <a:ln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SG" dirty="0"/>
                      </a:p>
                    </p:txBody>
                  </p:sp>
                  <p:sp>
                    <p:nvSpPr>
                      <p:cNvPr id="92" name="Line 140"/>
                      <p:cNvSpPr>
                        <a:spLocks noChangeShapeType="1"/>
                      </p:cNvSpPr>
                      <p:nvPr/>
                    </p:nvSpPr>
                    <p:spPr bwMode="auto">
                      <a:xfrm flipH="1">
                        <a:off x="254" y="242"/>
                        <a:ext cx="11" cy="13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93" name="Line 1500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255" y="255"/>
                        <a:ext cx="48" cy="0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94" name="Line 160"/>
                      <p:cNvSpPr>
                        <a:spLocks noChangeShapeType="1"/>
                      </p:cNvSpPr>
                      <p:nvPr/>
                    </p:nvSpPr>
                    <p:spPr bwMode="auto">
                      <a:xfrm flipH="1" flipV="1">
                        <a:off x="291" y="241"/>
                        <a:ext cx="13" cy="15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95" name="Oval 170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274" y="220"/>
                        <a:ext cx="8" cy="8"/>
                      </a:xfrm>
                      <a:prstGeom prst="ellipse">
                        <a:avLst/>
                      </a:prstGeom>
                      <a:solidFill>
                        <a:srgbClr val="FFFFFF"/>
                      </a:solidFill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SG" dirty="0"/>
                      </a:p>
                    </p:txBody>
                  </p:sp>
                </p:grpSp>
                <p:sp>
                  <p:nvSpPr>
                    <p:cNvPr id="40" name="Line 180"/>
                    <p:cNvSpPr>
                      <a:spLocks noChangeShapeType="1"/>
                    </p:cNvSpPr>
                    <p:nvPr>
                      <p:custDataLst>
                        <p:tags r:id="rId18"/>
                      </p:custDataLst>
                    </p:nvPr>
                  </p:nvSpPr>
                  <p:spPr bwMode="auto">
                    <a:xfrm>
                      <a:off x="5380494" y="4980272"/>
                      <a:ext cx="276715" cy="0"/>
                    </a:xfrm>
                    <a:prstGeom prst="line">
                      <a:avLst/>
                    </a:prstGeom>
                    <a:noFill/>
                    <a:ln w="19050">
                      <a:solidFill>
                        <a:srgbClr val="000000"/>
                      </a:solidFill>
                      <a:round/>
                      <a:headEnd/>
                      <a:tailEnd type="triangle" w="med" len="med"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cxnSp>
                  <p:nvCxnSpPr>
                    <p:cNvPr id="41" name="Straight Connector 6"/>
                    <p:cNvCxnSpPr>
                      <a:cxnSpLocks noChangeShapeType="1"/>
                    </p:cNvCxnSpPr>
                    <p:nvPr>
                      <p:custDataLst>
                        <p:tags r:id="rId19"/>
                      </p:custDataLst>
                    </p:nvPr>
                  </p:nvCxnSpPr>
                  <p:spPr bwMode="auto">
                    <a:xfrm flipV="1">
                      <a:off x="5648211" y="2860393"/>
                      <a:ext cx="0" cy="2129827"/>
                    </a:xfrm>
                    <a:prstGeom prst="line">
                      <a:avLst/>
                    </a:prstGeom>
                    <a:noFill/>
                    <a:ln w="19050" algn="ctr">
                      <a:solidFill>
                        <a:srgbClr val="000000"/>
                      </a:solidFill>
                      <a:round/>
                      <a:headEnd/>
                      <a:tailEnd type="triangle" w="med" len="med"/>
                    </a:ln>
                  </p:spPr>
                </p:cxnSp>
                <p:sp>
                  <p:nvSpPr>
                    <p:cNvPr id="43" name="TextBox 14"/>
                    <p:cNvSpPr txBox="1">
                      <a:spLocks noChangeArrowheads="1"/>
                    </p:cNvSpPr>
                    <p:nvPr>
                      <p:custDataLst>
                        <p:tags r:id="rId20"/>
                      </p:custDataLst>
                    </p:nvPr>
                  </p:nvSpPr>
                  <p:spPr bwMode="auto">
                    <a:xfrm>
                      <a:off x="7560709" y="1700805"/>
                      <a:ext cx="1242924" cy="321451"/>
                    </a:xfrm>
                    <a:prstGeom prst="rect">
                      <a:avLst/>
                    </a:prstGeom>
                    <a:noFill/>
                    <a:ln w="9525">
                      <a:solidFill>
                        <a:schemeClr val="tx1"/>
                      </a:solidFill>
                      <a:miter lim="800000"/>
                      <a:headEnd/>
                      <a:tailEnd/>
                    </a:ln>
                  </p:spPr>
                  <p:txBody>
                    <a:bodyPr wrap="none">
                      <a:spAutoFit/>
                    </a:bodyPr>
                    <a:lstStyle/>
                    <a:p>
                      <a:pPr algn="ctr"/>
                      <a:r>
                        <a:rPr lang="en-US" sz="1400" dirty="0"/>
                        <a:t>Cooling </a:t>
                      </a:r>
                      <a:r>
                        <a:rPr lang="en-US" sz="1400" dirty="0" smtClean="0"/>
                        <a:t>Tower</a:t>
                      </a:r>
                      <a:endParaRPr lang="en-US" sz="1400" dirty="0"/>
                    </a:p>
                  </p:txBody>
                </p:sp>
                <p:sp>
                  <p:nvSpPr>
                    <p:cNvPr id="46" name="Text Box 670"/>
                    <p:cNvSpPr txBox="1">
                      <a:spLocks noChangeArrowheads="1"/>
                    </p:cNvSpPr>
                    <p:nvPr>
                      <p:custDataLst>
                        <p:tags r:id="rId21"/>
                      </p:custDataLst>
                    </p:nvPr>
                  </p:nvSpPr>
                  <p:spPr bwMode="auto">
                    <a:xfrm>
                      <a:off x="6245762" y="1458016"/>
                      <a:ext cx="1224136" cy="307777"/>
                    </a:xfrm>
                    <a:prstGeom prst="rect">
                      <a:avLst/>
                    </a:prstGeom>
                    <a:noFill/>
                    <a:ln w="2540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square">
                      <a:spAutoFit/>
                    </a:bodyPr>
                    <a:lstStyle/>
                    <a:p>
                      <a:r>
                        <a:rPr lang="en-US" sz="1400" dirty="0" smtClean="0"/>
                        <a:t>Reject Water</a:t>
                      </a:r>
                      <a:endParaRPr lang="en-US" dirty="0"/>
                    </a:p>
                  </p:txBody>
                </p:sp>
                <p:sp>
                  <p:nvSpPr>
                    <p:cNvPr id="47" name="Rounded Rectangle 46"/>
                    <p:cNvSpPr/>
                    <p:nvPr>
                      <p:custDataLst>
                        <p:tags r:id="rId22"/>
                      </p:custDataLst>
                    </p:nvPr>
                  </p:nvSpPr>
                  <p:spPr bwMode="auto">
                    <a:xfrm>
                      <a:off x="4969253" y="1257875"/>
                      <a:ext cx="998809" cy="520544"/>
                    </a:xfrm>
                    <a:prstGeom prst="roundRect">
                      <a:avLst/>
                    </a:prstGeom>
                    <a:solidFill>
                      <a:schemeClr val="accent3">
                        <a:lumMod val="60000"/>
                        <a:lumOff val="40000"/>
                        <a:alpha val="52000"/>
                      </a:schemeClr>
                    </a:solidFill>
                    <a:ln w="190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91440" tIns="45720" rIns="91440" bIns="45720" numCol="1" rtlCol="0" anchor="t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/>
                      <a:r>
                        <a:rPr lang="en-US" sz="1200" dirty="0"/>
                        <a:t>AHU </a:t>
                      </a:r>
                      <a:r>
                        <a:rPr lang="en-US" sz="1200" dirty="0" smtClean="0"/>
                        <a:t>Condensate</a:t>
                      </a:r>
                      <a:endParaRPr lang="en-US" sz="1200" dirty="0"/>
                    </a:p>
                    <a:p>
                      <a:pPr marL="0" marR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</a:endParaRPr>
                    </a:p>
                  </p:txBody>
                </p:sp>
                <p:cxnSp>
                  <p:nvCxnSpPr>
                    <p:cNvPr id="48" name="Elbow Connector 47"/>
                    <p:cNvCxnSpPr>
                      <a:stCxn id="47" idx="2"/>
                    </p:cNvCxnSpPr>
                    <p:nvPr>
                      <p:custDataLst>
                        <p:tags r:id="rId23"/>
                      </p:custDataLst>
                    </p:nvPr>
                  </p:nvCxnSpPr>
                  <p:spPr bwMode="auto">
                    <a:xfrm rot="5400000">
                      <a:off x="3963613" y="2631089"/>
                      <a:ext cx="2357715" cy="652375"/>
                    </a:xfrm>
                    <a:prstGeom prst="bentConnector3">
                      <a:avLst>
                        <a:gd name="adj1" fmla="val 50000"/>
                      </a:avLst>
                    </a:prstGeom>
                    <a:solidFill>
                      <a:schemeClr val="accent1"/>
                    </a:solidFill>
                    <a:ln w="19050" cap="flat" cmpd="sng" algn="ctr">
                      <a:solidFill>
                        <a:schemeClr val="accent3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arrow"/>
                    </a:ln>
                    <a:effectLst/>
                  </p:spPr>
                </p:cxnSp>
                <p:grpSp>
                  <p:nvGrpSpPr>
                    <p:cNvPr id="50" name="Group 49"/>
                    <p:cNvGrpSpPr>
                      <a:grpSpLocks/>
                    </p:cNvGrpSpPr>
                    <p:nvPr/>
                  </p:nvGrpSpPr>
                  <p:grpSpPr bwMode="auto">
                    <a:xfrm flipH="1">
                      <a:off x="3701999" y="4975975"/>
                      <a:ext cx="360040" cy="360040"/>
                      <a:chOff x="143" y="208"/>
                      <a:chExt cx="50" cy="52"/>
                    </a:xfrm>
                  </p:grpSpPr>
                  <p:sp>
                    <p:nvSpPr>
                      <p:cNvPr id="86" name="AutoShape 8"/>
                      <p:cNvSpPr>
                        <a:spLocks noChangeArrowheads="1"/>
                      </p:cNvSpPr>
                      <p:nvPr/>
                    </p:nvSpPr>
                    <p:spPr bwMode="auto">
                      <a:xfrm flipV="1">
                        <a:off x="144" y="208"/>
                        <a:ext cx="44" cy="41"/>
                      </a:xfrm>
                      <a:prstGeom prst="flowChartMagneticTape">
                        <a:avLst/>
                      </a:prstGeom>
                      <a:solidFill>
                        <a:srgbClr val="FFFFFF"/>
                      </a:solidFill>
                      <a:ln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SG" dirty="0"/>
                      </a:p>
                    </p:txBody>
                  </p:sp>
                  <p:sp>
                    <p:nvSpPr>
                      <p:cNvPr id="87" name="Line 9"/>
                      <p:cNvSpPr>
                        <a:spLocks noChangeShapeType="1"/>
                      </p:cNvSpPr>
                      <p:nvPr/>
                    </p:nvSpPr>
                    <p:spPr bwMode="auto">
                      <a:xfrm flipH="1">
                        <a:off x="143" y="246"/>
                        <a:ext cx="11" cy="13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88" name="Line 10"/>
                      <p:cNvSpPr>
                        <a:spLocks noChangeShapeType="1"/>
                      </p:cNvSpPr>
                      <p:nvPr/>
                    </p:nvSpPr>
                    <p:spPr bwMode="auto">
                      <a:xfrm>
                        <a:off x="144" y="259"/>
                        <a:ext cx="48" cy="0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89" name="Line 110"/>
                      <p:cNvSpPr>
                        <a:spLocks noChangeShapeType="1"/>
                      </p:cNvSpPr>
                      <p:nvPr/>
                    </p:nvSpPr>
                    <p:spPr bwMode="auto">
                      <a:xfrm flipH="1" flipV="1">
                        <a:off x="180" y="245"/>
                        <a:ext cx="13" cy="15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US" dirty="0"/>
                      </a:p>
                    </p:txBody>
                  </p:sp>
                  <p:sp>
                    <p:nvSpPr>
                      <p:cNvPr id="90" name="Oval 12"/>
                      <p:cNvSpPr>
                        <a:spLocks noChangeArrowheads="1"/>
                      </p:cNvSpPr>
                      <p:nvPr/>
                    </p:nvSpPr>
                    <p:spPr bwMode="auto">
                      <a:xfrm>
                        <a:off x="163" y="224"/>
                        <a:ext cx="8" cy="8"/>
                      </a:xfrm>
                      <a:prstGeom prst="ellipse">
                        <a:avLst/>
                      </a:prstGeom>
                      <a:solidFill>
                        <a:srgbClr val="FFFFFF"/>
                      </a:solidFill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SG" dirty="0"/>
                      </a:p>
                    </p:txBody>
                  </p:sp>
                </p:grpSp>
                <p:sp>
                  <p:nvSpPr>
                    <p:cNvPr id="51" name="Text Box 560"/>
                    <p:cNvSpPr txBox="1">
                      <a:spLocks noChangeArrowheads="1"/>
                    </p:cNvSpPr>
                    <p:nvPr>
                      <p:custDataLst>
                        <p:tags r:id="rId24"/>
                      </p:custDataLst>
                    </p:nvPr>
                  </p:nvSpPr>
                  <p:spPr bwMode="auto">
                    <a:xfrm>
                      <a:off x="4930246" y="5460843"/>
                      <a:ext cx="1094881" cy="546465"/>
                    </a:xfrm>
                    <a:prstGeom prst="rect">
                      <a:avLst/>
                    </a:prstGeom>
                    <a:noFill/>
                    <a:ln w="2540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none">
                      <a:spAutoFit/>
                    </a:bodyPr>
                    <a:lstStyle/>
                    <a:p>
                      <a:pPr algn="ctr"/>
                      <a:r>
                        <a:rPr lang="en-US" sz="1400" dirty="0" smtClean="0"/>
                        <a:t>RO Transfer</a:t>
                      </a:r>
                      <a:endParaRPr lang="en-US" sz="1400" dirty="0"/>
                    </a:p>
                    <a:p>
                      <a:pPr algn="ctr"/>
                      <a:r>
                        <a:rPr lang="en-US" sz="1400" dirty="0"/>
                        <a:t>pump</a:t>
                      </a:r>
                    </a:p>
                  </p:txBody>
                </p:sp>
                <p:sp>
                  <p:nvSpPr>
                    <p:cNvPr id="53" name="Text Box 5600"/>
                    <p:cNvSpPr txBox="1">
                      <a:spLocks noChangeArrowheads="1"/>
                    </p:cNvSpPr>
                    <p:nvPr>
                      <p:custDataLst>
                        <p:tags r:id="rId25"/>
                      </p:custDataLst>
                    </p:nvPr>
                  </p:nvSpPr>
                  <p:spPr bwMode="auto">
                    <a:xfrm>
                      <a:off x="3025515" y="5516745"/>
                      <a:ext cx="1266307" cy="546465"/>
                    </a:xfrm>
                    <a:prstGeom prst="rect">
                      <a:avLst/>
                    </a:prstGeom>
                    <a:noFill/>
                    <a:ln w="2540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none">
                      <a:spAutoFit/>
                    </a:bodyPr>
                    <a:lstStyle/>
                    <a:p>
                      <a:pPr algn="ctr"/>
                      <a:r>
                        <a:rPr lang="en-US" sz="1400" dirty="0" smtClean="0"/>
                        <a:t>UF Back wash</a:t>
                      </a:r>
                      <a:endParaRPr lang="en-US" sz="1400" dirty="0"/>
                    </a:p>
                    <a:p>
                      <a:pPr algn="ctr"/>
                      <a:r>
                        <a:rPr lang="en-US" sz="1400" dirty="0"/>
                        <a:t>pump</a:t>
                      </a:r>
                    </a:p>
                  </p:txBody>
                </p:sp>
                <p:grpSp>
                  <p:nvGrpSpPr>
                    <p:cNvPr id="54" name="Group 122"/>
                    <p:cNvGrpSpPr/>
                    <p:nvPr/>
                  </p:nvGrpSpPr>
                  <p:grpSpPr>
                    <a:xfrm>
                      <a:off x="1108047" y="4930823"/>
                      <a:ext cx="343360" cy="383638"/>
                      <a:chOff x="1293502" y="4930823"/>
                      <a:chExt cx="343360" cy="383638"/>
                    </a:xfrm>
                  </p:grpSpPr>
                  <p:sp>
                    <p:nvSpPr>
                      <p:cNvPr id="82" name="AutoShape 1300"/>
                      <p:cNvSpPr>
                        <a:spLocks noChangeArrowheads="1"/>
                      </p:cNvSpPr>
                      <p:nvPr>
                        <p:custDataLst>
                          <p:tags r:id="rId44"/>
                        </p:custDataLst>
                      </p:nvPr>
                    </p:nvSpPr>
                    <p:spPr bwMode="auto">
                      <a:xfrm flipV="1">
                        <a:off x="1300368" y="4930823"/>
                        <a:ext cx="302157" cy="300416"/>
                      </a:xfrm>
                      <a:prstGeom prst="flowChartMagneticTape">
                        <a:avLst/>
                      </a:prstGeom>
                      <a:solidFill>
                        <a:srgbClr val="FFFFFF"/>
                      </a:solidFill>
                      <a:ln w="9525">
                        <a:solidFill>
                          <a:srgbClr val="000000"/>
                        </a:solidFill>
                        <a:miter lim="800000"/>
                        <a:headEnd/>
                        <a:tailEnd/>
                      </a:ln>
                    </p:spPr>
                    <p:txBody>
                      <a:bodyPr/>
                      <a:lstStyle/>
                      <a:p>
                        <a:endParaRPr lang="en-SG" dirty="0"/>
                      </a:p>
                    </p:txBody>
                  </p:sp>
                  <p:sp>
                    <p:nvSpPr>
                      <p:cNvPr id="83" name="Line 1400"/>
                      <p:cNvSpPr>
                        <a:spLocks noChangeShapeType="1"/>
                      </p:cNvSpPr>
                      <p:nvPr>
                        <p:custDataLst>
                          <p:tags r:id="rId45"/>
                        </p:custDataLst>
                      </p:nvPr>
                    </p:nvSpPr>
                    <p:spPr bwMode="auto">
                      <a:xfrm flipH="1">
                        <a:off x="1293502" y="5209258"/>
                        <a:ext cx="75539" cy="95254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noFill/>
                          </a14:hiddenFill>
                        </a:ext>
                      </a:extLst>
                    </p:spPr>
                    <p:txBody>
                      <a:bodyPr/>
                      <a:lstStyle/>
                      <a:p>
                        <a:endParaRPr lang="en-SG" dirty="0"/>
                      </a:p>
                    </p:txBody>
                  </p:sp>
                  <p:sp>
                    <p:nvSpPr>
                      <p:cNvPr id="84" name="Line 15000"/>
                      <p:cNvSpPr>
                        <a:spLocks noChangeShapeType="1"/>
                      </p:cNvSpPr>
                      <p:nvPr>
                        <p:custDataLst>
                          <p:tags r:id="rId46"/>
                        </p:custDataLst>
                      </p:nvPr>
                    </p:nvSpPr>
                    <p:spPr bwMode="auto">
                      <a:xfrm>
                        <a:off x="1300369" y="5314461"/>
                        <a:ext cx="329626" cy="0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noFill/>
                          </a14:hiddenFill>
                        </a:ext>
                      </a:extLst>
                    </p:spPr>
                    <p:txBody>
                      <a:bodyPr/>
                      <a:lstStyle/>
                      <a:p>
                        <a:endParaRPr lang="en-SG" dirty="0"/>
                      </a:p>
                    </p:txBody>
                  </p:sp>
                  <p:sp>
                    <p:nvSpPr>
                      <p:cNvPr id="85" name="Line 1600"/>
                      <p:cNvSpPr>
                        <a:spLocks noChangeShapeType="1"/>
                      </p:cNvSpPr>
                      <p:nvPr>
                        <p:custDataLst>
                          <p:tags r:id="rId47"/>
                        </p:custDataLst>
                      </p:nvPr>
                    </p:nvSpPr>
                    <p:spPr bwMode="auto">
                      <a:xfrm flipH="1" flipV="1">
                        <a:off x="1547588" y="5201931"/>
                        <a:ext cx="89274" cy="109908"/>
                      </a:xfrm>
                      <a:prstGeom prst="line">
                        <a:avLst/>
                      </a:prstGeom>
                      <a:noFill/>
                      <a:ln w="9525">
                        <a:solidFill>
                          <a:srgbClr val="000000"/>
                        </a:solidFill>
                        <a:round/>
                        <a:headEnd/>
                        <a:tailEnd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noFill/>
                          </a14:hiddenFill>
                        </a:ext>
                      </a:extLst>
                    </p:spPr>
                    <p:txBody>
                      <a:bodyPr/>
                      <a:lstStyle/>
                      <a:p>
                        <a:endParaRPr lang="en-SG" dirty="0"/>
                      </a:p>
                    </p:txBody>
                  </p:sp>
                </p:grpSp>
                <p:sp>
                  <p:nvSpPr>
                    <p:cNvPr id="55" name="Oval 120"/>
                    <p:cNvSpPr>
                      <a:spLocks noChangeArrowheads="1"/>
                    </p:cNvSpPr>
                    <p:nvPr>
                      <p:custDataLst>
                        <p:tags r:id="rId26"/>
                      </p:custDataLst>
                    </p:nvPr>
                  </p:nvSpPr>
                  <p:spPr bwMode="auto">
                    <a:xfrm flipH="1">
                      <a:off x="1249225" y="5054385"/>
                      <a:ext cx="57606" cy="55391"/>
                    </a:xfrm>
                    <a:prstGeom prst="ellipse">
                      <a:avLst/>
                    </a:prstGeom>
                    <a:solidFill>
                      <a:srgbClr val="FFFFFF"/>
                    </a:solidFill>
                    <a:ln w="9525">
                      <a:solidFill>
                        <a:srgbClr val="000000"/>
                      </a:solidFill>
                      <a:round/>
                      <a:headEnd/>
                      <a:tailEnd/>
                    </a:ln>
                  </p:spPr>
                  <p:txBody>
                    <a:bodyPr/>
                    <a:lstStyle/>
                    <a:p>
                      <a:endParaRPr lang="en-SG" dirty="0"/>
                    </a:p>
                  </p:txBody>
                </p:sp>
                <p:sp>
                  <p:nvSpPr>
                    <p:cNvPr id="56" name="Line 1100"/>
                    <p:cNvSpPr>
                      <a:spLocks noChangeShapeType="1"/>
                    </p:cNvSpPr>
                    <p:nvPr>
                      <p:custDataLst>
                        <p:tags r:id="rId27"/>
                      </p:custDataLst>
                    </p:nvPr>
                  </p:nvSpPr>
                  <p:spPr bwMode="auto">
                    <a:xfrm>
                      <a:off x="947023" y="5091159"/>
                      <a:ext cx="323938" cy="0"/>
                    </a:xfrm>
                    <a:prstGeom prst="line">
                      <a:avLst/>
                    </a:prstGeom>
                    <a:noFill/>
                    <a:ln w="19050">
                      <a:solidFill>
                        <a:srgbClr val="000000"/>
                      </a:solidFill>
                      <a:round/>
                      <a:headEnd/>
                      <a:tailEnd type="triangle" w="med" len="med"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cxnSp>
                  <p:nvCxnSpPr>
                    <p:cNvPr id="57" name="Straight Connector 20"/>
                    <p:cNvCxnSpPr>
                      <a:cxnSpLocks noChangeShapeType="1"/>
                      <a:endCxn id="56" idx="0"/>
                    </p:cNvCxnSpPr>
                    <p:nvPr>
                      <p:custDataLst>
                        <p:tags r:id="rId28"/>
                      </p:custDataLst>
                    </p:nvPr>
                  </p:nvCxnSpPr>
                  <p:spPr bwMode="auto">
                    <a:xfrm flipH="1">
                      <a:off x="947023" y="4241189"/>
                      <a:ext cx="1" cy="849969"/>
                    </a:xfrm>
                    <a:prstGeom prst="line">
                      <a:avLst/>
                    </a:prstGeom>
                    <a:noFill/>
                    <a:ln w="19050" algn="ctr">
                      <a:solidFill>
                        <a:srgbClr val="000000"/>
                      </a:solidFill>
                      <a:round/>
                      <a:headEnd/>
                      <a:tailEnd type="triangle" w="med" len="med"/>
                    </a:ln>
                  </p:spPr>
                </p:cxnSp>
                <p:sp>
                  <p:nvSpPr>
                    <p:cNvPr id="58" name="Text Box 56000"/>
                    <p:cNvSpPr txBox="1">
                      <a:spLocks noChangeArrowheads="1"/>
                    </p:cNvSpPr>
                    <p:nvPr>
                      <p:custDataLst>
                        <p:tags r:id="rId29"/>
                      </p:custDataLst>
                    </p:nvPr>
                  </p:nvSpPr>
                  <p:spPr bwMode="auto">
                    <a:xfrm>
                      <a:off x="862955" y="5455234"/>
                      <a:ext cx="945262" cy="546465"/>
                    </a:xfrm>
                    <a:prstGeom prst="rect">
                      <a:avLst/>
                    </a:prstGeom>
                    <a:noFill/>
                    <a:ln w="2540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none">
                      <a:spAutoFit/>
                    </a:bodyPr>
                    <a:lstStyle/>
                    <a:p>
                      <a:pPr algn="ctr"/>
                      <a:r>
                        <a:rPr lang="en-US" sz="1400" dirty="0" smtClean="0"/>
                        <a:t>De-sludge</a:t>
                      </a:r>
                      <a:endParaRPr lang="en-US" sz="1400" dirty="0"/>
                    </a:p>
                    <a:p>
                      <a:pPr algn="ctr"/>
                      <a:r>
                        <a:rPr lang="en-US" sz="1400" dirty="0"/>
                        <a:t>pump</a:t>
                      </a:r>
                    </a:p>
                  </p:txBody>
                </p:sp>
                <p:sp>
                  <p:nvSpPr>
                    <p:cNvPr id="59" name="Line 1800"/>
                    <p:cNvSpPr>
                      <a:spLocks noChangeShapeType="1"/>
                    </p:cNvSpPr>
                    <p:nvPr>
                      <p:custDataLst>
                        <p:tags r:id="rId30"/>
                      </p:custDataLst>
                    </p:nvPr>
                  </p:nvSpPr>
                  <p:spPr bwMode="auto">
                    <a:xfrm>
                      <a:off x="1412707" y="4963992"/>
                      <a:ext cx="309804" cy="0"/>
                    </a:xfrm>
                    <a:prstGeom prst="line">
                      <a:avLst/>
                    </a:prstGeom>
                    <a:noFill/>
                    <a:ln w="19050">
                      <a:solidFill>
                        <a:srgbClr val="000000"/>
                      </a:solidFill>
                      <a:round/>
                      <a:headEnd/>
                      <a:tailEnd type="triangle" w="med" len="med"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60" name="Text Box 560000"/>
                    <p:cNvSpPr txBox="1">
                      <a:spLocks noChangeArrowheads="1"/>
                    </p:cNvSpPr>
                    <p:nvPr>
                      <p:custDataLst>
                        <p:tags r:id="rId31"/>
                      </p:custDataLst>
                    </p:nvPr>
                  </p:nvSpPr>
                  <p:spPr bwMode="auto">
                    <a:xfrm>
                      <a:off x="1631783" y="4848840"/>
                      <a:ext cx="633507" cy="307777"/>
                    </a:xfrm>
                    <a:prstGeom prst="rect">
                      <a:avLst/>
                    </a:prstGeom>
                    <a:noFill/>
                    <a:ln w="2540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none">
                      <a:spAutoFit/>
                    </a:bodyPr>
                    <a:lstStyle/>
                    <a:p>
                      <a:r>
                        <a:rPr lang="en-US" sz="1400" dirty="0" smtClean="0"/>
                        <a:t>WWT</a:t>
                      </a:r>
                      <a:endParaRPr lang="en-US" sz="1400" dirty="0"/>
                    </a:p>
                  </p:txBody>
                </p:sp>
                <p:sp>
                  <p:nvSpPr>
                    <p:cNvPr id="61" name="Line 18000"/>
                    <p:cNvSpPr>
                      <a:spLocks noChangeShapeType="1"/>
                    </p:cNvSpPr>
                    <p:nvPr>
                      <p:custDataLst>
                        <p:tags r:id="rId32"/>
                      </p:custDataLst>
                    </p:nvPr>
                  </p:nvSpPr>
                  <p:spPr bwMode="auto">
                    <a:xfrm>
                      <a:off x="3023298" y="2647798"/>
                      <a:ext cx="553430" cy="0"/>
                    </a:xfrm>
                    <a:prstGeom prst="line">
                      <a:avLst/>
                    </a:prstGeom>
                    <a:noFill/>
                    <a:ln w="19050">
                      <a:solidFill>
                        <a:srgbClr val="000000"/>
                      </a:solidFill>
                      <a:round/>
                      <a:headEnd/>
                      <a:tailEnd type="triangle" w="med" len="med"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62" name="Text Box 5600000"/>
                    <p:cNvSpPr txBox="1">
                      <a:spLocks noChangeArrowheads="1"/>
                    </p:cNvSpPr>
                    <p:nvPr>
                      <p:custDataLst>
                        <p:tags r:id="rId33"/>
                      </p:custDataLst>
                    </p:nvPr>
                  </p:nvSpPr>
                  <p:spPr bwMode="auto">
                    <a:xfrm>
                      <a:off x="3567134" y="2485457"/>
                      <a:ext cx="633507" cy="307777"/>
                    </a:xfrm>
                    <a:prstGeom prst="rect">
                      <a:avLst/>
                    </a:prstGeom>
                    <a:noFill/>
                    <a:ln w="25400" algn="ctr">
                      <a:noFill/>
                      <a:miter lim="800000"/>
                      <a:headEnd/>
                      <a:tailEnd/>
                    </a:ln>
                  </p:spPr>
                  <p:txBody>
                    <a:bodyPr wrap="none">
                      <a:spAutoFit/>
                    </a:bodyPr>
                    <a:lstStyle/>
                    <a:p>
                      <a:r>
                        <a:rPr lang="en-US" sz="1400" dirty="0" smtClean="0"/>
                        <a:t>WWT</a:t>
                      </a:r>
                      <a:endParaRPr lang="en-US" sz="1400" dirty="0"/>
                    </a:p>
                  </p:txBody>
                </p:sp>
                <p:sp>
                  <p:nvSpPr>
                    <p:cNvPr id="65" name="Line 1800000"/>
                    <p:cNvSpPr>
                      <a:spLocks noChangeShapeType="1"/>
                    </p:cNvSpPr>
                    <p:nvPr>
                      <p:custDataLst>
                        <p:tags r:id="rId34"/>
                      </p:custDataLst>
                    </p:nvPr>
                  </p:nvSpPr>
                  <p:spPr bwMode="auto">
                    <a:xfrm flipH="1" flipV="1">
                      <a:off x="3898457" y="5130951"/>
                      <a:ext cx="260951" cy="0"/>
                    </a:xfrm>
                    <a:prstGeom prst="line">
                      <a:avLst/>
                    </a:prstGeom>
                    <a:noFill/>
                    <a:ln w="19050">
                      <a:solidFill>
                        <a:srgbClr val="000000"/>
                      </a:solidFill>
                      <a:round/>
                      <a:headEnd/>
                      <a:tailEnd type="triangle" w="med" len="med"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66" name="Line 180000000"/>
                    <p:cNvSpPr>
                      <a:spLocks noChangeShapeType="1"/>
                    </p:cNvSpPr>
                    <p:nvPr>
                      <p:custDataLst>
                        <p:tags r:id="rId35"/>
                      </p:custDataLst>
                    </p:nvPr>
                  </p:nvSpPr>
                  <p:spPr bwMode="auto">
                    <a:xfrm>
                      <a:off x="5637483" y="2873829"/>
                      <a:ext cx="247752" cy="879"/>
                    </a:xfrm>
                    <a:prstGeom prst="line">
                      <a:avLst/>
                    </a:prstGeom>
                    <a:noFill/>
                    <a:ln w="19050">
                      <a:solidFill>
                        <a:srgbClr val="000000"/>
                      </a:solidFill>
                      <a:round/>
                      <a:headEnd/>
                      <a:tailEnd type="triangle" w="med" len="med"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grpSp>
                  <p:nvGrpSpPr>
                    <p:cNvPr id="67" name="Group 140"/>
                    <p:cNvGrpSpPr/>
                    <p:nvPr/>
                  </p:nvGrpSpPr>
                  <p:grpSpPr>
                    <a:xfrm>
                      <a:off x="6155354" y="2093506"/>
                      <a:ext cx="360046" cy="344268"/>
                      <a:chOff x="6228184" y="1628800"/>
                      <a:chExt cx="423860" cy="360040"/>
                    </a:xfrm>
                  </p:grpSpPr>
                  <p:sp>
                    <p:nvSpPr>
                      <p:cNvPr id="80" name="Oval 79"/>
                      <p:cNvSpPr/>
                      <p:nvPr/>
                    </p:nvSpPr>
                    <p:spPr>
                      <a:xfrm>
                        <a:off x="6228184" y="1628800"/>
                        <a:ext cx="360040" cy="360040"/>
                      </a:xfrm>
                      <a:prstGeom prst="ellipse">
                        <a:avLst/>
                      </a:prstGeom>
                      <a:noFill/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sz="800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81" name="TextBox 80"/>
                      <p:cNvSpPr txBox="1"/>
                      <p:nvPr/>
                    </p:nvSpPr>
                    <p:spPr>
                      <a:xfrm>
                        <a:off x="6241679" y="1693493"/>
                        <a:ext cx="410365" cy="2575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r>
                          <a:rPr lang="en-US" sz="1000" dirty="0" smtClean="0"/>
                          <a:t>FT</a:t>
                        </a:r>
                        <a:endParaRPr lang="en-US" sz="1000" dirty="0"/>
                      </a:p>
                    </p:txBody>
                  </p:sp>
                </p:grpSp>
                <p:grpSp>
                  <p:nvGrpSpPr>
                    <p:cNvPr id="68" name="Group 143"/>
                    <p:cNvGrpSpPr/>
                    <p:nvPr/>
                  </p:nvGrpSpPr>
                  <p:grpSpPr>
                    <a:xfrm>
                      <a:off x="6998500" y="2311206"/>
                      <a:ext cx="360046" cy="344268"/>
                      <a:chOff x="6228184" y="1628800"/>
                      <a:chExt cx="423860" cy="360040"/>
                    </a:xfrm>
                  </p:grpSpPr>
                  <p:sp>
                    <p:nvSpPr>
                      <p:cNvPr id="78" name="Oval 77"/>
                      <p:cNvSpPr/>
                      <p:nvPr/>
                    </p:nvSpPr>
                    <p:spPr>
                      <a:xfrm>
                        <a:off x="6228184" y="1628800"/>
                        <a:ext cx="360040" cy="360040"/>
                      </a:xfrm>
                      <a:prstGeom prst="ellipse">
                        <a:avLst/>
                      </a:prstGeom>
                      <a:noFill/>
                      <a:ln>
                        <a:solidFill>
                          <a:schemeClr val="tx1"/>
                        </a:solidFill>
                      </a:ln>
                    </p:spPr>
                    <p:style>
                      <a:lnRef idx="2">
                        <a:schemeClr val="accent1">
                          <a:shade val="50000"/>
                        </a:schemeClr>
                      </a:lnRef>
                      <a:fillRef idx="1">
                        <a:schemeClr val="accent1"/>
                      </a:fillRef>
                      <a:effectRef idx="0">
                        <a:schemeClr val="accent1"/>
                      </a:effectRef>
                      <a:fontRef idx="minor">
                        <a:schemeClr val="lt1"/>
                      </a:fontRef>
                    </p:style>
                    <p:txBody>
                      <a:bodyPr rtlCol="0" anchor="ctr"/>
                      <a:lstStyle/>
                      <a:p>
                        <a:pPr algn="ctr"/>
                        <a:endParaRPr lang="en-US" sz="800" dirty="0">
                          <a:solidFill>
                            <a:schemeClr val="tx1"/>
                          </a:solidFill>
                        </a:endParaRPr>
                      </a:p>
                    </p:txBody>
                  </p:sp>
                  <p:sp>
                    <p:nvSpPr>
                      <p:cNvPr id="79" name="TextBox 78"/>
                      <p:cNvSpPr txBox="1"/>
                      <p:nvPr/>
                    </p:nvSpPr>
                    <p:spPr>
                      <a:xfrm>
                        <a:off x="6241679" y="1693493"/>
                        <a:ext cx="410365" cy="25750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  <p:txBody>
                      <a:bodyPr wrap="square" rtlCol="0">
                        <a:spAutoFit/>
                      </a:bodyPr>
                      <a:lstStyle/>
                      <a:p>
                        <a:r>
                          <a:rPr lang="en-US" sz="1000" dirty="0" smtClean="0"/>
                          <a:t>FT</a:t>
                        </a:r>
                        <a:endParaRPr lang="en-US" sz="1000" dirty="0"/>
                      </a:p>
                    </p:txBody>
                  </p:sp>
                </p:grpSp>
                <p:cxnSp>
                  <p:nvCxnSpPr>
                    <p:cNvPr id="69" name="Straight Connector 68"/>
                    <p:cNvCxnSpPr/>
                    <p:nvPr>
                      <p:custDataLst>
                        <p:tags r:id="rId36"/>
                      </p:custDataLst>
                    </p:nvPr>
                  </p:nvCxnSpPr>
                  <p:spPr bwMode="auto">
                    <a:xfrm flipH="1">
                      <a:off x="6450911" y="2264427"/>
                      <a:ext cx="281978" cy="0"/>
                    </a:xfrm>
                    <a:prstGeom prst="line">
                      <a:avLst/>
                    </a:prstGeom>
                    <a:solidFill>
                      <a:schemeClr val="accent1"/>
                    </a:solidFill>
                    <a:ln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cxnSp>
                  <p:nvCxnSpPr>
                    <p:cNvPr id="70" name="Straight Connector 69"/>
                    <p:cNvCxnSpPr/>
                    <p:nvPr>
                      <p:custDataLst>
                        <p:tags r:id="rId37"/>
                      </p:custDataLst>
                    </p:nvPr>
                  </p:nvCxnSpPr>
                  <p:spPr bwMode="auto">
                    <a:xfrm>
                      <a:off x="7161786" y="2643604"/>
                      <a:ext cx="0" cy="216024"/>
                    </a:xfrm>
                    <a:prstGeom prst="line">
                      <a:avLst/>
                    </a:prstGeom>
                    <a:solidFill>
                      <a:schemeClr val="accent1"/>
                    </a:solidFill>
                    <a:ln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</p:cxnSp>
                <p:sp>
                  <p:nvSpPr>
                    <p:cNvPr id="71" name="Line 1800000000"/>
                    <p:cNvSpPr>
                      <a:spLocks noChangeShapeType="1"/>
                    </p:cNvSpPr>
                    <p:nvPr>
                      <p:custDataLst>
                        <p:tags r:id="rId38"/>
                      </p:custDataLst>
                    </p:nvPr>
                  </p:nvSpPr>
                  <p:spPr bwMode="auto">
                    <a:xfrm>
                      <a:off x="6732240" y="1844824"/>
                      <a:ext cx="792088" cy="0"/>
                    </a:xfrm>
                    <a:prstGeom prst="line">
                      <a:avLst/>
                    </a:prstGeom>
                    <a:noFill/>
                    <a:ln w="19050">
                      <a:solidFill>
                        <a:srgbClr val="AC0098"/>
                      </a:solidFill>
                      <a:round/>
                      <a:headEnd/>
                      <a:tailEnd type="triangle" w="med" len="med"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72" name="Line 1800000000"/>
                    <p:cNvSpPr>
                      <a:spLocks noChangeShapeType="1"/>
                    </p:cNvSpPr>
                    <p:nvPr>
                      <p:custDataLst>
                        <p:tags r:id="rId39"/>
                      </p:custDataLst>
                    </p:nvPr>
                  </p:nvSpPr>
                  <p:spPr bwMode="auto">
                    <a:xfrm flipH="1" flipV="1">
                      <a:off x="6734737" y="1826443"/>
                      <a:ext cx="3519" cy="873213"/>
                    </a:xfrm>
                    <a:prstGeom prst="line">
                      <a:avLst/>
                    </a:prstGeom>
                    <a:noFill/>
                    <a:ln w="19050">
                      <a:solidFill>
                        <a:srgbClr val="AC0098"/>
                      </a:solidFill>
                      <a:round/>
                      <a:headEnd/>
                      <a:tailEnd type="triangle" w="med" len="med"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73" name="Line 180"/>
                    <p:cNvSpPr>
                      <a:spLocks noChangeShapeType="1"/>
                    </p:cNvSpPr>
                    <p:nvPr>
                      <p:custDataLst>
                        <p:tags r:id="rId40"/>
                      </p:custDataLst>
                    </p:nvPr>
                  </p:nvSpPr>
                  <p:spPr bwMode="auto">
                    <a:xfrm>
                      <a:off x="3673502" y="3191059"/>
                      <a:ext cx="737859" cy="0"/>
                    </a:xfrm>
                    <a:prstGeom prst="line">
                      <a:avLst/>
                    </a:prstGeom>
                    <a:noFill/>
                    <a:ln w="19050">
                      <a:solidFill>
                        <a:srgbClr val="000000"/>
                      </a:solidFill>
                      <a:round/>
                      <a:headEnd/>
                      <a:tailEnd type="triangle" w="med" len="med"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76" name="Rounded Rectangle 75"/>
                    <p:cNvSpPr/>
                    <p:nvPr>
                      <p:custDataLst>
                        <p:tags r:id="rId41"/>
                      </p:custDataLst>
                    </p:nvPr>
                  </p:nvSpPr>
                  <p:spPr bwMode="auto">
                    <a:xfrm>
                      <a:off x="3872591" y="1159330"/>
                      <a:ext cx="943691" cy="648933"/>
                    </a:xfrm>
                    <a:prstGeom prst="roundRect">
                      <a:avLst/>
                    </a:prstGeom>
                    <a:solidFill>
                      <a:schemeClr val="accent6">
                        <a:lumMod val="40000"/>
                        <a:lumOff val="60000"/>
                        <a:alpha val="30000"/>
                      </a:schemeClr>
                    </a:solidFill>
                    <a:ln w="19050" cap="flat" cmpd="sng" algn="ctr">
                      <a:solidFill>
                        <a:schemeClr val="accent6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>
                    <a:effectLst/>
                  </p:spPr>
                  <p:txBody>
                    <a:bodyPr vert="horz" wrap="square" lIns="91440" tIns="45720" rIns="91440" bIns="45720" numCol="1" rtlCol="0" anchor="ctr" anchorCtr="0" compatLnSpc="1">
                      <a:prstTxWarp prst="textNoShape">
                        <a:avLst/>
                      </a:prstTxWarp>
                    </a:bodyPr>
                    <a:lstStyle/>
                    <a:p>
                      <a:pPr algn="ctr"/>
                      <a:r>
                        <a:rPr lang="en-US" sz="1200" dirty="0"/>
                        <a:t>RO Reject from DI </a:t>
                      </a:r>
                      <a:r>
                        <a:rPr lang="en-US" sz="1200" dirty="0" smtClean="0"/>
                        <a:t>plants</a:t>
                      </a: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</a:endParaRPr>
                    </a:p>
                  </p:txBody>
                </p:sp>
                <p:sp>
                  <p:nvSpPr>
                    <p:cNvPr id="77" name="Line 180"/>
                    <p:cNvSpPr>
                      <a:spLocks noChangeShapeType="1"/>
                    </p:cNvSpPr>
                    <p:nvPr>
                      <p:custDataLst>
                        <p:tags r:id="rId42"/>
                      </p:custDataLst>
                    </p:nvPr>
                  </p:nvSpPr>
                  <p:spPr bwMode="auto">
                    <a:xfrm>
                      <a:off x="4969253" y="5111055"/>
                      <a:ext cx="269948" cy="0"/>
                    </a:xfrm>
                    <a:prstGeom prst="line">
                      <a:avLst/>
                    </a:prstGeom>
                    <a:noFill/>
                    <a:ln w="19050">
                      <a:solidFill>
                        <a:srgbClr val="000000"/>
                      </a:solidFill>
                      <a:round/>
                      <a:headEnd/>
                      <a:tailEnd type="triangle" w="med" len="med"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  <p:sp>
                  <p:nvSpPr>
                    <p:cNvPr id="23" name="Line 11"/>
                    <p:cNvSpPr>
                      <a:spLocks noChangeShapeType="1"/>
                    </p:cNvSpPr>
                    <p:nvPr>
                      <p:custDataLst>
                        <p:tags r:id="rId43"/>
                      </p:custDataLst>
                    </p:nvPr>
                  </p:nvSpPr>
                  <p:spPr bwMode="auto">
                    <a:xfrm>
                      <a:off x="1324763" y="3715030"/>
                      <a:ext cx="544783" cy="0"/>
                    </a:xfrm>
                    <a:prstGeom prst="line">
                      <a:avLst/>
                    </a:prstGeom>
                    <a:noFill/>
                    <a:ln w="19050">
                      <a:solidFill>
                        <a:srgbClr val="000000"/>
                      </a:solidFill>
                      <a:round/>
                      <a:headEnd/>
                      <a:tailEnd type="triangle" w="med" len="med"/>
                    </a:ln>
                  </p:spPr>
                  <p:txBody>
                    <a:bodyPr/>
                    <a:lstStyle/>
                    <a:p>
                      <a:endParaRPr lang="en-US" dirty="0"/>
                    </a:p>
                  </p:txBody>
                </p:sp>
              </p:grpSp>
            </p:grpSp>
          </p:grpSp>
        </p:grpSp>
      </p:grpSp>
      <p:sp>
        <p:nvSpPr>
          <p:cNvPr id="120" name="Line 18000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4483812" y="2203997"/>
            <a:ext cx="2463" cy="2234653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/>
            <a:tailEnd type="triangle" w="med" len="med"/>
          </a:ln>
        </p:spPr>
        <p:txBody>
          <a:bodyPr/>
          <a:lstStyle/>
          <a:p>
            <a:endParaRPr lang="en-US" dirty="0"/>
          </a:p>
        </p:txBody>
      </p:sp>
      <p:pic>
        <p:nvPicPr>
          <p:cNvPr id="145" name="Picture 4"/>
          <p:cNvPicPr>
            <a:picLocks noChangeAspect="1" noChangeArrowheads="1"/>
          </p:cNvPicPr>
          <p:nvPr/>
        </p:nvPicPr>
        <p:blipFill>
          <a:blip r:embed="rId5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619" y="3083972"/>
            <a:ext cx="1302399" cy="18526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6" name="Picture 5"/>
          <p:cNvPicPr>
            <a:picLocks noChangeAspect="1" noChangeArrowheads="1"/>
          </p:cNvPicPr>
          <p:nvPr/>
        </p:nvPicPr>
        <p:blipFill>
          <a:blip r:embed="rId5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99945" y="3220514"/>
            <a:ext cx="1552651" cy="17397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50" name="Picture 7"/>
          <p:cNvPicPr>
            <a:picLocks noChangeAspect="1" noChangeArrowheads="1"/>
          </p:cNvPicPr>
          <p:nvPr/>
        </p:nvPicPr>
        <p:blipFill>
          <a:blip r:embed="rId5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76689" y="2771404"/>
            <a:ext cx="1511627" cy="18132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11" name="Straight Connector 9"/>
          <p:cNvCxnSpPr/>
          <p:nvPr/>
        </p:nvCxnSpPr>
        <p:spPr bwMode="auto">
          <a:xfrm rot="10800000">
            <a:off x="2895600" y="4762501"/>
            <a:ext cx="696934" cy="496635"/>
          </a:xfrm>
          <a:prstGeom prst="bentConnector3">
            <a:avLst>
              <a:gd name="adj1" fmla="val 100568"/>
            </a:avLst>
          </a:prstGeom>
          <a:noFill/>
          <a:ln w="19050">
            <a:solidFill>
              <a:srgbClr val="000000"/>
            </a:solidFill>
            <a:round/>
            <a:headEnd/>
            <a:tailEnd type="triangle" w="med" len="med"/>
          </a:ln>
        </p:spPr>
      </p:cxnSp>
      <p:sp>
        <p:nvSpPr>
          <p:cNvPr id="98" name="Title 1"/>
          <p:cNvSpPr txBox="1">
            <a:spLocks/>
          </p:cNvSpPr>
          <p:nvPr/>
        </p:nvSpPr>
        <p:spPr>
          <a:xfrm>
            <a:off x="993594" y="382930"/>
            <a:ext cx="4045132" cy="41717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US" dirty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Project Implementation -1 of </a:t>
            </a:r>
            <a:r>
              <a:rPr lang="en-US" dirty="0" smtClean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6</a:t>
            </a:r>
            <a:endParaRPr lang="en-US" dirty="0">
              <a:solidFill>
                <a:srgbClr val="2875CA"/>
              </a:solidFill>
              <a:latin typeface="Britannic Bold" pitchFamily="34" charset="0"/>
              <a:ea typeface="+mj-ea"/>
              <a:cs typeface="+mj-cs"/>
            </a:endParaRPr>
          </a:p>
        </p:txBody>
      </p:sp>
      <p:grpSp>
        <p:nvGrpSpPr>
          <p:cNvPr id="114" name="Group 113"/>
          <p:cNvGrpSpPr/>
          <p:nvPr/>
        </p:nvGrpSpPr>
        <p:grpSpPr>
          <a:xfrm rot="264182">
            <a:off x="86596" y="91470"/>
            <a:ext cx="777240" cy="777240"/>
            <a:chOff x="3728638" y="1092389"/>
            <a:chExt cx="914400" cy="914400"/>
          </a:xfrm>
        </p:grpSpPr>
        <p:grpSp>
          <p:nvGrpSpPr>
            <p:cNvPr id="115" name="Group 114"/>
            <p:cNvGrpSpPr/>
            <p:nvPr/>
          </p:nvGrpSpPr>
          <p:grpSpPr>
            <a:xfrm>
              <a:off x="3728638" y="1092389"/>
              <a:ext cx="914400" cy="914400"/>
              <a:chOff x="2378075" y="502896"/>
              <a:chExt cx="2066925" cy="2066925"/>
            </a:xfrm>
          </p:grpSpPr>
          <p:grpSp>
            <p:nvGrpSpPr>
              <p:cNvPr id="118" name="Group 28"/>
              <p:cNvGrpSpPr>
                <a:grpSpLocks/>
              </p:cNvGrpSpPr>
              <p:nvPr/>
            </p:nvGrpSpPr>
            <p:grpSpPr bwMode="auto">
              <a:xfrm>
                <a:off x="2378075" y="502896"/>
                <a:ext cx="2066925" cy="2066925"/>
                <a:chOff x="2333625" y="219075"/>
                <a:chExt cx="2066236" cy="2066236"/>
              </a:xfrm>
            </p:grpSpPr>
            <p:grpSp>
              <p:nvGrpSpPr>
                <p:cNvPr id="125" name="Group 154"/>
                <p:cNvGrpSpPr>
                  <a:grpSpLocks/>
                </p:cNvGrpSpPr>
                <p:nvPr/>
              </p:nvGrpSpPr>
              <p:grpSpPr bwMode="auto">
                <a:xfrm>
                  <a:off x="2333625" y="219075"/>
                  <a:ext cx="2066236" cy="2066236"/>
                  <a:chOff x="2844111" y="1118742"/>
                  <a:chExt cx="3508375" cy="3508375"/>
                </a:xfrm>
              </p:grpSpPr>
              <p:sp>
                <p:nvSpPr>
                  <p:cNvPr id="127" name="Freeform 6"/>
                  <p:cNvSpPr>
                    <a:spLocks noEditPoints="1"/>
                  </p:cNvSpPr>
                  <p:nvPr>
                    <p:custDataLst>
                      <p:tags r:id="rId4"/>
                    </p:custDataLst>
                  </p:nvPr>
                </p:nvSpPr>
                <p:spPr bwMode="gray">
                  <a:xfrm rot="3600000">
                    <a:off x="2844111" y="1118742"/>
                    <a:ext cx="3508375" cy="3508375"/>
                  </a:xfrm>
                  <a:custGeom>
                    <a:avLst/>
                    <a:gdLst/>
                    <a:ahLst/>
                    <a:cxnLst>
                      <a:cxn ang="0">
                        <a:pos x="292" y="0"/>
                      </a:cxn>
                      <a:cxn ang="0">
                        <a:pos x="0" y="293"/>
                      </a:cxn>
                      <a:cxn ang="0">
                        <a:pos x="292" y="585"/>
                      </a:cxn>
                      <a:cxn ang="0">
                        <a:pos x="585" y="293"/>
                      </a:cxn>
                      <a:cxn ang="0">
                        <a:pos x="292" y="0"/>
                      </a:cxn>
                      <a:cxn ang="0">
                        <a:pos x="292" y="539"/>
                      </a:cxn>
                      <a:cxn ang="0">
                        <a:pos x="46" y="293"/>
                      </a:cxn>
                      <a:cxn ang="0">
                        <a:pos x="292" y="46"/>
                      </a:cxn>
                      <a:cxn ang="0">
                        <a:pos x="539" y="293"/>
                      </a:cxn>
                      <a:cxn ang="0">
                        <a:pos x="292" y="539"/>
                      </a:cxn>
                    </a:cxnLst>
                    <a:rect l="0" t="0" r="r" b="b"/>
                    <a:pathLst>
                      <a:path w="585" h="585">
                        <a:moveTo>
                          <a:pt x="292" y="0"/>
                        </a:moveTo>
                        <a:cubicBezTo>
                          <a:pt x="131" y="0"/>
                          <a:pt x="0" y="131"/>
                          <a:pt x="0" y="293"/>
                        </a:cubicBezTo>
                        <a:cubicBezTo>
                          <a:pt x="0" y="454"/>
                          <a:pt x="131" y="585"/>
                          <a:pt x="292" y="585"/>
                        </a:cubicBezTo>
                        <a:cubicBezTo>
                          <a:pt x="454" y="585"/>
                          <a:pt x="585" y="454"/>
                          <a:pt x="585" y="293"/>
                        </a:cubicBezTo>
                        <a:cubicBezTo>
                          <a:pt x="585" y="131"/>
                          <a:pt x="454" y="0"/>
                          <a:pt x="292" y="0"/>
                        </a:cubicBezTo>
                        <a:close/>
                        <a:moveTo>
                          <a:pt x="292" y="539"/>
                        </a:moveTo>
                        <a:cubicBezTo>
                          <a:pt x="156" y="539"/>
                          <a:pt x="46" y="429"/>
                          <a:pt x="46" y="293"/>
                        </a:cubicBezTo>
                        <a:cubicBezTo>
                          <a:pt x="46" y="156"/>
                          <a:pt x="156" y="46"/>
                          <a:pt x="292" y="46"/>
                        </a:cubicBezTo>
                        <a:cubicBezTo>
                          <a:pt x="429" y="46"/>
                          <a:pt x="539" y="156"/>
                          <a:pt x="539" y="293"/>
                        </a:cubicBezTo>
                        <a:cubicBezTo>
                          <a:pt x="539" y="429"/>
                          <a:pt x="429" y="539"/>
                          <a:pt x="292" y="539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4"/>
                  </a:lnRef>
                  <a:fillRef idx="3">
                    <a:schemeClr val="accent4"/>
                  </a:fillRef>
                  <a:effectRef idx="3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sz="900"/>
                  </a:p>
                </p:txBody>
              </p:sp>
              <p:sp>
                <p:nvSpPr>
                  <p:cNvPr id="128" name="Ellipse 12"/>
                  <p:cNvSpPr>
                    <a:spLocks noChangeArrowheads="1"/>
                  </p:cNvSpPr>
                  <p:nvPr/>
                </p:nvSpPr>
                <p:spPr bwMode="auto">
                  <a:xfrm>
                    <a:off x="3948899" y="2247780"/>
                    <a:ext cx="1279938" cy="127993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353637"/>
                      </a:gs>
                      <a:gs pos="100000">
                        <a:srgbClr val="151616"/>
                      </a:gs>
                    </a:gsLst>
                    <a:path path="shape">
                      <a:fillToRect l="50000" t="50000" r="50000" b="50000"/>
                    </a:path>
                  </a:gradFill>
                  <a:ln w="9525">
                    <a:solidFill>
                      <a:srgbClr val="191919"/>
                    </a:solidFill>
                    <a:round/>
                    <a:headEnd/>
                    <a:tailEnd/>
                  </a:ln>
                  <a:effectLst>
                    <a:outerShdw dist="23000" dir="5400000" rotWithShape="0">
                      <a:srgbClr val="808080">
                        <a:alpha val="34999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latin typeface="Calibri" charset="0"/>
                    </a:endParaRPr>
                  </a:p>
                </p:txBody>
              </p:sp>
              <p:sp>
                <p:nvSpPr>
                  <p:cNvPr id="129" name="Ellipse 13"/>
                  <p:cNvSpPr/>
                  <p:nvPr/>
                </p:nvSpPr>
                <p:spPr bwMode="auto">
                  <a:xfrm>
                    <a:off x="4118660" y="2304368"/>
                    <a:ext cx="940416" cy="692512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tx2">
                          <a:lumMod val="40000"/>
                          <a:lumOff val="60000"/>
                          <a:alpha val="0"/>
                        </a:schemeClr>
                      </a:gs>
                      <a:gs pos="100000">
                        <a:schemeClr val="bg1">
                          <a:alpha val="77000"/>
                        </a:schemeClr>
                      </a:gs>
                    </a:gsLst>
                    <a:lin ang="162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ea typeface="ＭＳ Ｐゴシック" charset="-128"/>
                    </a:endParaRPr>
                  </a:p>
                </p:txBody>
              </p:sp>
              <p:sp>
                <p:nvSpPr>
                  <p:cNvPr id="130" name="Block Arc 129"/>
                  <p:cNvSpPr/>
                  <p:nvPr/>
                </p:nvSpPr>
                <p:spPr>
                  <a:xfrm rot="18729919">
                    <a:off x="3230788" y="1508111"/>
                    <a:ext cx="2726940" cy="2729633"/>
                  </a:xfrm>
                  <a:prstGeom prst="blockArc">
                    <a:avLst>
                      <a:gd name="adj1" fmla="val 574634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900"/>
                  </a:p>
                </p:txBody>
              </p:sp>
              <p:sp>
                <p:nvSpPr>
                  <p:cNvPr id="131" name="Block Arc 130"/>
                  <p:cNvSpPr/>
                  <p:nvPr/>
                </p:nvSpPr>
                <p:spPr>
                  <a:xfrm rot="1352524">
                    <a:off x="3229440" y="1509459"/>
                    <a:ext cx="2729633" cy="2726940"/>
                  </a:xfrm>
                  <a:prstGeom prst="blockArc">
                    <a:avLst>
                      <a:gd name="adj1" fmla="val 596470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132" name="Block Arc 131"/>
                  <p:cNvSpPr/>
                  <p:nvPr/>
                </p:nvSpPr>
                <p:spPr>
                  <a:xfrm rot="5869595">
                    <a:off x="3230788" y="1508111"/>
                    <a:ext cx="2726940" cy="2729633"/>
                  </a:xfrm>
                  <a:prstGeom prst="blockArc">
                    <a:avLst>
                      <a:gd name="adj1" fmla="val 5627424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133" name="Block Arc 132"/>
                  <p:cNvSpPr/>
                  <p:nvPr/>
                </p:nvSpPr>
                <p:spPr>
                  <a:xfrm rot="10291675">
                    <a:off x="3229440" y="1509459"/>
                    <a:ext cx="2729633" cy="2726940"/>
                  </a:xfrm>
                  <a:prstGeom prst="blockArc">
                    <a:avLst>
                      <a:gd name="adj1" fmla="val 5803831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134" name="Block Arc 133"/>
                  <p:cNvSpPr/>
                  <p:nvPr/>
                </p:nvSpPr>
                <p:spPr>
                  <a:xfrm rot="14301489">
                    <a:off x="3230788" y="1508111"/>
                    <a:ext cx="2726940" cy="2729633"/>
                  </a:xfrm>
                  <a:prstGeom prst="blockArc">
                    <a:avLst>
                      <a:gd name="adj1" fmla="val 6140645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</p:grpSp>
            <p:sp>
              <p:nvSpPr>
                <p:cNvPr id="126" name="Ellipse 15"/>
                <p:cNvSpPr/>
                <p:nvPr/>
              </p:nvSpPr>
              <p:spPr bwMode="auto">
                <a:xfrm>
                  <a:off x="2763695" y="465055"/>
                  <a:ext cx="1237837" cy="91568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900" dirty="0"/>
                </a:p>
              </p:txBody>
            </p:sp>
          </p:grpSp>
          <p:sp>
            <p:nvSpPr>
              <p:cNvPr id="119" name="TextBox 29"/>
              <p:cNvSpPr txBox="1">
                <a:spLocks noChangeArrowheads="1"/>
              </p:cNvSpPr>
              <p:nvPr/>
            </p:nvSpPr>
            <p:spPr bwMode="auto">
              <a:xfrm>
                <a:off x="2754110" y="771753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D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121" name="TextBox 29"/>
              <p:cNvSpPr txBox="1">
                <a:spLocks noChangeArrowheads="1"/>
              </p:cNvSpPr>
              <p:nvPr/>
            </p:nvSpPr>
            <p:spPr bwMode="auto">
              <a:xfrm>
                <a:off x="2584640" y="1514847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M</a:t>
                </a:r>
              </a:p>
            </p:txBody>
          </p:sp>
          <p:sp>
            <p:nvSpPr>
              <p:cNvPr id="122" name="TextBox 29"/>
              <p:cNvSpPr txBox="1">
                <a:spLocks noChangeArrowheads="1"/>
              </p:cNvSpPr>
              <p:nvPr/>
            </p:nvSpPr>
            <p:spPr bwMode="auto">
              <a:xfrm>
                <a:off x="3253164" y="1880209"/>
                <a:ext cx="289718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A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123" name="TextBox 29"/>
              <p:cNvSpPr txBox="1">
                <a:spLocks noChangeArrowheads="1"/>
              </p:cNvSpPr>
              <p:nvPr/>
            </p:nvSpPr>
            <p:spPr bwMode="auto">
              <a:xfrm>
                <a:off x="3844923" y="13567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I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124" name="TextBox 29"/>
              <p:cNvSpPr txBox="1">
                <a:spLocks noChangeArrowheads="1"/>
              </p:cNvSpPr>
              <p:nvPr/>
            </p:nvSpPr>
            <p:spPr bwMode="auto">
              <a:xfrm>
                <a:off x="3487620" y="7158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C</a:t>
                </a:r>
              </a:p>
            </p:txBody>
          </p:sp>
        </p:grpSp>
        <p:sp>
          <p:nvSpPr>
            <p:cNvPr id="117" name="TextBox 29"/>
            <p:cNvSpPr txBox="1">
              <a:spLocks noChangeArrowheads="1"/>
            </p:cNvSpPr>
            <p:nvPr/>
          </p:nvSpPr>
          <p:spPr bwMode="auto">
            <a:xfrm rot="21335818">
              <a:off x="4093795" y="1350066"/>
              <a:ext cx="128171" cy="398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da-DK" sz="1600" b="1" dirty="0" smtClean="0">
                  <a:solidFill>
                    <a:schemeClr val="bg1"/>
                  </a:solidFill>
                </a:rPr>
                <a:t>I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xmlns="" val="37622767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0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8" grpId="0" animBg="1"/>
      <p:bldP spid="52" grpId="0"/>
      <p:bldP spid="120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 bwMode="auto">
          <a:xfrm>
            <a:off x="-1376" y="914400"/>
            <a:ext cx="9144000" cy="5943599"/>
          </a:xfrm>
          <a:prstGeom prst="rect">
            <a:avLst/>
          </a:prstGeom>
          <a:gradFill>
            <a:gsLst>
              <a:gs pos="0">
                <a:srgbClr val="000082">
                  <a:alpha val="42000"/>
                </a:srgbClr>
              </a:gs>
              <a:gs pos="13000">
                <a:srgbClr val="0047FF"/>
              </a:gs>
              <a:gs pos="28000">
                <a:srgbClr val="000082"/>
              </a:gs>
              <a:gs pos="42999">
                <a:srgbClr val="0047FF"/>
              </a:gs>
              <a:gs pos="58000">
                <a:srgbClr val="000082"/>
              </a:gs>
              <a:gs pos="72000">
                <a:srgbClr val="0047FF"/>
              </a:gs>
              <a:gs pos="87000">
                <a:srgbClr val="000082"/>
              </a:gs>
              <a:gs pos="100000">
                <a:srgbClr val="0047FF"/>
              </a:gs>
            </a:gsLst>
            <a:lin ang="54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 xmlns="">
                  <a14:imgLayer r:embed="rId6">
                    <a14:imgEffect>
                      <a14:backgroundRemoval t="0" b="98889" l="669" r="9765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91470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Table 1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xmlns="" val="46007803"/>
              </p:ext>
            </p:extLst>
          </p:nvPr>
        </p:nvGraphicFramePr>
        <p:xfrm>
          <a:off x="1695448" y="946300"/>
          <a:ext cx="7370145" cy="1964979"/>
        </p:xfrm>
        <a:graphic>
          <a:graphicData uri="http://schemas.openxmlformats.org/drawingml/2006/table">
            <a:tbl>
              <a:tblPr/>
              <a:tblGrid>
                <a:gridCol w="2518826"/>
                <a:gridCol w="1185641"/>
                <a:gridCol w="1832839"/>
                <a:gridCol w="1832839"/>
              </a:tblGrid>
              <a:tr h="358506">
                <a:tc gridSpan="4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270"/>
                        </a:spcAft>
                        <a:buClrTx/>
                        <a:buSzTx/>
                        <a:buFontTx/>
                        <a:buNone/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  <a:defRPr/>
                      </a:pPr>
                      <a:r>
                        <a:rPr lang="en-US" sz="1600" b="1" kern="1200" spc="-15" dirty="0" smtClean="0">
                          <a:solidFill>
                            <a:schemeClr val="bg1"/>
                          </a:solidFill>
                          <a:latin typeface="Arial"/>
                          <a:ea typeface="宋体"/>
                          <a:cs typeface="Arial"/>
                        </a:rPr>
                        <a:t>Product Water Quality of WWRS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70"/>
                        </a:spcAft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</a:pPr>
                      <a:endParaRPr lang="en-US" sz="1600" dirty="0">
                        <a:solidFill>
                          <a:schemeClr val="bg1"/>
                        </a:solidFill>
                        <a:latin typeface="Arial"/>
                        <a:ea typeface="宋体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70"/>
                        </a:spcAft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</a:pPr>
                      <a:endParaRPr lang="en-US" sz="1600" dirty="0">
                        <a:solidFill>
                          <a:schemeClr val="bg1"/>
                        </a:solidFill>
                        <a:latin typeface="Arial"/>
                        <a:ea typeface="宋体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70"/>
                        </a:spcAft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</a:pPr>
                      <a:endParaRPr lang="en-US" sz="1600" b="1" dirty="0">
                        <a:solidFill>
                          <a:schemeClr val="bg1"/>
                        </a:solidFill>
                        <a:latin typeface="Arial"/>
                        <a:ea typeface="宋体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358506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270"/>
                        </a:spcAft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</a:pPr>
                      <a:r>
                        <a:rPr lang="en-US" sz="1600" b="1" spc="-15" dirty="0" smtClean="0">
                          <a:solidFill>
                            <a:schemeClr val="bg1"/>
                          </a:solidFill>
                          <a:latin typeface="Arial"/>
                          <a:ea typeface="宋体"/>
                          <a:cs typeface="Arial"/>
                        </a:rPr>
                        <a:t>  Parameter</a:t>
                      </a:r>
                      <a:endParaRPr lang="en-US" sz="1600" dirty="0">
                        <a:solidFill>
                          <a:schemeClr val="bg1"/>
                        </a:solidFill>
                        <a:latin typeface="Arial"/>
                        <a:ea typeface="宋体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70"/>
                        </a:spcAft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</a:pPr>
                      <a:r>
                        <a:rPr lang="en-US" sz="1600" b="1" spc="-15" dirty="0">
                          <a:solidFill>
                            <a:schemeClr val="bg1"/>
                          </a:solidFill>
                          <a:latin typeface="Arial"/>
                          <a:ea typeface="宋体"/>
                          <a:cs typeface="Arial"/>
                        </a:rPr>
                        <a:t>Unit</a:t>
                      </a:r>
                      <a:endParaRPr lang="en-US" sz="1600" dirty="0">
                        <a:solidFill>
                          <a:schemeClr val="bg1"/>
                        </a:solidFill>
                        <a:latin typeface="Arial"/>
                        <a:ea typeface="宋体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70"/>
                        </a:spcAft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</a:pPr>
                      <a:r>
                        <a:rPr lang="en-US" sz="1600" b="1" spc="-15" dirty="0">
                          <a:solidFill>
                            <a:schemeClr val="bg1"/>
                          </a:solidFill>
                          <a:latin typeface="Arial"/>
                          <a:ea typeface="宋体"/>
                          <a:cs typeface="Arial"/>
                        </a:rPr>
                        <a:t>Design Data</a:t>
                      </a:r>
                      <a:endParaRPr lang="en-US" sz="1600" dirty="0">
                        <a:solidFill>
                          <a:schemeClr val="bg1"/>
                        </a:solidFill>
                        <a:latin typeface="Arial"/>
                        <a:ea typeface="宋体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70"/>
                        </a:spcAft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</a:pPr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Arial"/>
                          <a:ea typeface="宋体"/>
                          <a:cs typeface="Times New Roman"/>
                        </a:rPr>
                        <a:t>Actual Result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Arial"/>
                        <a:ea typeface="宋体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415989">
                <a:tc>
                  <a:txBody>
                    <a:bodyPr/>
                    <a:lstStyle/>
                    <a:p>
                      <a:pPr marL="228600" marR="0" indent="-228600">
                        <a:spcBef>
                          <a:spcPts val="0"/>
                        </a:spcBef>
                        <a:spcAft>
                          <a:spcPts val="270"/>
                        </a:spcAft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22860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</a:pPr>
                      <a:r>
                        <a:rPr lang="en-GB" sz="1400" spc="-15" dirty="0" smtClean="0">
                          <a:solidFill>
                            <a:schemeClr val="bg1"/>
                          </a:solidFill>
                          <a:latin typeface="Arial"/>
                          <a:ea typeface="宋体"/>
                          <a:cs typeface="Arial"/>
                        </a:rPr>
                        <a:t>  Conductivity</a:t>
                      </a:r>
                      <a:endParaRPr lang="en-US" sz="1400" dirty="0">
                        <a:solidFill>
                          <a:schemeClr val="bg1"/>
                        </a:solidFill>
                        <a:latin typeface="Arial"/>
                        <a:ea typeface="宋体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70"/>
                        </a:spcAft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</a:pPr>
                      <a:r>
                        <a:rPr lang="en-US" sz="1400" spc="-15" dirty="0">
                          <a:solidFill>
                            <a:schemeClr val="bg1"/>
                          </a:solidFill>
                          <a:latin typeface="Arial"/>
                          <a:ea typeface="宋体"/>
                          <a:cs typeface="Arial"/>
                        </a:rPr>
                        <a:t>Us/cm</a:t>
                      </a:r>
                      <a:endParaRPr lang="en-US" sz="1400" dirty="0">
                        <a:solidFill>
                          <a:schemeClr val="bg1"/>
                        </a:solidFill>
                        <a:latin typeface="Arial"/>
                        <a:ea typeface="宋体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70"/>
                        </a:spcAft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</a:pPr>
                      <a:r>
                        <a:rPr lang="en-US" sz="1400" spc="-15" dirty="0">
                          <a:solidFill>
                            <a:schemeClr val="bg1"/>
                          </a:solidFill>
                          <a:latin typeface="Arial"/>
                          <a:ea typeface="宋体"/>
                          <a:cs typeface="Arial"/>
                        </a:rPr>
                        <a:t>&lt;15</a:t>
                      </a:r>
                      <a:endParaRPr lang="en-US" sz="1400" dirty="0">
                        <a:solidFill>
                          <a:schemeClr val="bg1"/>
                        </a:solidFill>
                        <a:latin typeface="Arial"/>
                        <a:ea typeface="宋体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70"/>
                        </a:spcAft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</a:pPr>
                      <a:r>
                        <a:rPr lang="en-US" sz="1400" dirty="0" smtClean="0">
                          <a:solidFill>
                            <a:schemeClr val="bg1"/>
                          </a:solidFill>
                          <a:latin typeface="Arial"/>
                          <a:ea typeface="宋体"/>
                          <a:cs typeface="Times New Roman"/>
                        </a:rPr>
                        <a:t>&lt;5</a:t>
                      </a:r>
                      <a:endParaRPr lang="en-US" sz="1400" dirty="0">
                        <a:solidFill>
                          <a:schemeClr val="bg1"/>
                        </a:solidFill>
                        <a:latin typeface="Arial"/>
                        <a:ea typeface="宋体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415989">
                <a:tc>
                  <a:txBody>
                    <a:bodyPr/>
                    <a:lstStyle/>
                    <a:p>
                      <a:pPr marL="228600" marR="0" indent="-228600">
                        <a:spcBef>
                          <a:spcPts val="0"/>
                        </a:spcBef>
                        <a:spcAft>
                          <a:spcPts val="270"/>
                        </a:spcAft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22860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</a:pPr>
                      <a:r>
                        <a:rPr lang="en-GB" sz="1400" spc="-15" dirty="0" smtClean="0">
                          <a:solidFill>
                            <a:schemeClr val="bg1"/>
                          </a:solidFill>
                          <a:latin typeface="Arial"/>
                          <a:ea typeface="宋体"/>
                          <a:cs typeface="Arial"/>
                        </a:rPr>
                        <a:t>  Total </a:t>
                      </a:r>
                      <a:r>
                        <a:rPr lang="en-GB" sz="1400" spc="-15" dirty="0">
                          <a:solidFill>
                            <a:schemeClr val="bg1"/>
                          </a:solidFill>
                          <a:latin typeface="Arial"/>
                          <a:ea typeface="宋体"/>
                          <a:cs typeface="Arial"/>
                        </a:rPr>
                        <a:t>Organic Carbon (TOC)</a:t>
                      </a:r>
                      <a:endParaRPr lang="en-US" sz="1400" dirty="0">
                        <a:solidFill>
                          <a:schemeClr val="bg1"/>
                        </a:solidFill>
                        <a:latin typeface="Arial"/>
                        <a:ea typeface="宋体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70"/>
                        </a:spcAft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</a:pPr>
                      <a:r>
                        <a:rPr lang="en-US" sz="1400" spc="-15" dirty="0">
                          <a:solidFill>
                            <a:schemeClr val="bg1"/>
                          </a:solidFill>
                          <a:latin typeface="Arial"/>
                          <a:ea typeface="宋体"/>
                          <a:cs typeface="Arial"/>
                        </a:rPr>
                        <a:t>ppb</a:t>
                      </a:r>
                      <a:endParaRPr lang="en-US" sz="1400" dirty="0">
                        <a:solidFill>
                          <a:schemeClr val="bg1"/>
                        </a:solidFill>
                        <a:latin typeface="Arial"/>
                        <a:ea typeface="宋体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70"/>
                        </a:spcAft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</a:pPr>
                      <a:r>
                        <a:rPr lang="en-US" sz="1400" spc="-15" dirty="0">
                          <a:solidFill>
                            <a:schemeClr val="bg1"/>
                          </a:solidFill>
                          <a:latin typeface="Arial"/>
                          <a:ea typeface="宋体"/>
                          <a:cs typeface="Arial"/>
                        </a:rPr>
                        <a:t>&lt;50</a:t>
                      </a:r>
                      <a:endParaRPr lang="en-US" sz="1400" dirty="0">
                        <a:solidFill>
                          <a:schemeClr val="bg1"/>
                        </a:solidFill>
                        <a:latin typeface="Arial"/>
                        <a:ea typeface="宋体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70"/>
                        </a:spcAft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</a:pPr>
                      <a:r>
                        <a:rPr lang="en-US" sz="1400" dirty="0" smtClean="0">
                          <a:solidFill>
                            <a:schemeClr val="bg1"/>
                          </a:solidFill>
                          <a:latin typeface="Arial"/>
                          <a:ea typeface="宋体"/>
                          <a:cs typeface="Times New Roman"/>
                        </a:rPr>
                        <a:t>&lt;15</a:t>
                      </a:r>
                      <a:endParaRPr lang="en-US" sz="1400" dirty="0">
                        <a:solidFill>
                          <a:schemeClr val="bg1"/>
                        </a:solidFill>
                        <a:latin typeface="Arial"/>
                        <a:ea typeface="宋体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415989">
                <a:tc>
                  <a:txBody>
                    <a:bodyPr/>
                    <a:lstStyle/>
                    <a:p>
                      <a:pPr marL="228600" marR="0" indent="-228600">
                        <a:spcBef>
                          <a:spcPts val="0"/>
                        </a:spcBef>
                        <a:spcAft>
                          <a:spcPts val="270"/>
                        </a:spcAft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22860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</a:pPr>
                      <a:r>
                        <a:rPr lang="en-GB" sz="1400" spc="-15" dirty="0" smtClean="0">
                          <a:solidFill>
                            <a:schemeClr val="bg1"/>
                          </a:solidFill>
                          <a:latin typeface="Arial"/>
                          <a:ea typeface="宋体"/>
                          <a:cs typeface="Arial"/>
                        </a:rPr>
                        <a:t>  pH value</a:t>
                      </a:r>
                      <a:endParaRPr lang="en-US" sz="1400" dirty="0">
                        <a:solidFill>
                          <a:schemeClr val="bg1"/>
                        </a:solidFill>
                        <a:latin typeface="Arial"/>
                        <a:ea typeface="宋体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270"/>
                        </a:spcAft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</a:pPr>
                      <a:endParaRPr lang="en-US" sz="1400" spc="-15" dirty="0">
                        <a:solidFill>
                          <a:schemeClr val="bg1"/>
                        </a:solidFill>
                        <a:latin typeface="Arial"/>
                        <a:ea typeface="宋体"/>
                        <a:cs typeface="Arial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70"/>
                        </a:spcAft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</a:pPr>
                      <a:r>
                        <a:rPr lang="en-US" sz="1400" spc="-15" dirty="0" smtClean="0">
                          <a:solidFill>
                            <a:schemeClr val="bg1"/>
                          </a:solidFill>
                          <a:latin typeface="Arial"/>
                          <a:ea typeface="宋体"/>
                          <a:cs typeface="Arial"/>
                        </a:rPr>
                        <a:t>7</a:t>
                      </a:r>
                      <a:r>
                        <a:rPr lang="en-US" sz="1400" spc="-15" baseline="0" dirty="0" smtClean="0">
                          <a:solidFill>
                            <a:schemeClr val="bg1"/>
                          </a:solidFill>
                          <a:latin typeface="Arial"/>
                          <a:ea typeface="宋体"/>
                          <a:cs typeface="Arial"/>
                        </a:rPr>
                        <a:t> - 8</a:t>
                      </a:r>
                      <a:endParaRPr lang="en-US" sz="1400" dirty="0">
                        <a:solidFill>
                          <a:schemeClr val="bg1"/>
                        </a:solidFill>
                        <a:latin typeface="Arial"/>
                        <a:ea typeface="宋体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70"/>
                        </a:spcAft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</a:pPr>
                      <a:r>
                        <a:rPr lang="en-US" sz="1400" dirty="0" smtClean="0">
                          <a:solidFill>
                            <a:schemeClr val="bg1"/>
                          </a:solidFill>
                          <a:latin typeface="Arial"/>
                          <a:ea typeface="宋体"/>
                          <a:cs typeface="Times New Roman"/>
                        </a:rPr>
                        <a:t>7</a:t>
                      </a:r>
                      <a:r>
                        <a:rPr lang="en-US" sz="1400" baseline="0" dirty="0" smtClean="0">
                          <a:solidFill>
                            <a:schemeClr val="bg1"/>
                          </a:solidFill>
                          <a:latin typeface="Arial"/>
                          <a:ea typeface="宋体"/>
                          <a:cs typeface="Times New Roman"/>
                        </a:rPr>
                        <a:t> - </a:t>
                      </a:r>
                      <a:r>
                        <a:rPr lang="en-US" sz="1400" dirty="0" smtClean="0">
                          <a:solidFill>
                            <a:schemeClr val="bg1"/>
                          </a:solidFill>
                          <a:latin typeface="Arial"/>
                          <a:ea typeface="宋体"/>
                          <a:cs typeface="Times New Roman"/>
                        </a:rPr>
                        <a:t>8</a:t>
                      </a:r>
                      <a:endParaRPr lang="en-US" sz="1400" dirty="0">
                        <a:solidFill>
                          <a:schemeClr val="bg1"/>
                        </a:solidFill>
                        <a:latin typeface="Arial"/>
                        <a:ea typeface="宋体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977" r="21914" b="3183"/>
          <a:stretch/>
        </p:blipFill>
        <p:spPr>
          <a:xfrm>
            <a:off x="-27395" y="914401"/>
            <a:ext cx="1701840" cy="1965278"/>
          </a:xfrm>
          <a:prstGeom prst="rect">
            <a:avLst/>
          </a:prstGeom>
        </p:spPr>
      </p:pic>
      <p:sp>
        <p:nvSpPr>
          <p:cNvPr id="23" name="Rectangle 22"/>
          <p:cNvSpPr/>
          <p:nvPr/>
        </p:nvSpPr>
        <p:spPr>
          <a:xfrm>
            <a:off x="0" y="4344953"/>
            <a:ext cx="3223617" cy="1778744"/>
          </a:xfrm>
          <a:prstGeom prst="rect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47650" tIns="247650" rIns="247650" bIns="247650" numCol="1" spcCol="1270" anchor="ctr" anchorCtr="0">
            <a:noAutofit/>
          </a:bodyPr>
          <a:lstStyle/>
          <a:p>
            <a:pPr lvl="0" algn="ctr" defTabSz="2889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6500" kern="1200" dirty="0"/>
          </a:p>
        </p:txBody>
      </p:sp>
      <p:sp>
        <p:nvSpPr>
          <p:cNvPr id="26" name="Rectangle 25"/>
          <p:cNvSpPr/>
          <p:nvPr/>
        </p:nvSpPr>
        <p:spPr>
          <a:xfrm>
            <a:off x="0" y="2987852"/>
            <a:ext cx="9144000" cy="415498"/>
          </a:xfrm>
          <a:prstGeom prst="rect">
            <a:avLst/>
          </a:prstGeom>
          <a:solidFill>
            <a:schemeClr val="bg2">
              <a:lumMod val="60000"/>
              <a:lumOff val="40000"/>
            </a:schemeClr>
          </a:solidFill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>
            <a:spAutoFit/>
          </a:bodyPr>
          <a:lstStyle/>
          <a:p>
            <a:pPr marL="182880" indent="-182880" algn="ctr">
              <a:lnSpc>
                <a:spcPct val="150000"/>
              </a:lnSpc>
            </a:pPr>
            <a:r>
              <a:rPr lang="en-US" sz="1400" dirty="0"/>
              <a:t>The product water is RO water grade and will be directly top up to existing RO water tank of the </a:t>
            </a:r>
            <a:r>
              <a:rPr lang="en-US" sz="1400" dirty="0" smtClean="0"/>
              <a:t>DI </a:t>
            </a:r>
            <a:r>
              <a:rPr lang="en-US" sz="1400" dirty="0"/>
              <a:t>system.</a:t>
            </a:r>
          </a:p>
        </p:txBody>
      </p:sp>
      <p:sp>
        <p:nvSpPr>
          <p:cNvPr id="13" name="Rectangle 12"/>
          <p:cNvSpPr/>
          <p:nvPr/>
        </p:nvSpPr>
        <p:spPr>
          <a:xfrm>
            <a:off x="3683645" y="4126010"/>
            <a:ext cx="5381949" cy="1431161"/>
          </a:xfrm>
          <a:prstGeom prst="rect">
            <a:avLst/>
          </a:prstGeom>
          <a:gradFill>
            <a:gsLst>
              <a:gs pos="0">
                <a:srgbClr val="FFF200"/>
              </a:gs>
              <a:gs pos="45000">
                <a:srgbClr val="FF7A00"/>
              </a:gs>
              <a:gs pos="70000">
                <a:srgbClr val="FFCC00"/>
              </a:gs>
              <a:gs pos="100000">
                <a:srgbClr val="FF6600"/>
              </a:gs>
            </a:gsLst>
            <a:lin ang="16200000" scaled="0"/>
          </a:gradFill>
          <a:ln>
            <a:noFill/>
          </a:ln>
          <a:effectLst>
            <a:outerShdw blurRad="149987" dist="250190" dir="8460000" algn="ctr">
              <a:srgbClr val="000000">
                <a:alpha val="28000"/>
              </a:srgbClr>
            </a:outerShdw>
            <a:softEdge rad="635000"/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txBody>
          <a:bodyPr wrap="square">
            <a:spAutoFit/>
            <a:sp3d extrusionH="57150">
              <a:bevelT w="38100" h="38100"/>
            </a:sp3d>
          </a:bodyPr>
          <a:lstStyle/>
          <a:p>
            <a:pPr algn="ctr">
              <a:lnSpc>
                <a:spcPct val="150000"/>
              </a:lnSpc>
            </a:pPr>
            <a:r>
              <a:rPr lang="en-GB" sz="1800" b="1" dirty="0" smtClean="0">
                <a:solidFill>
                  <a:schemeClr val="tx2"/>
                </a:solidFill>
              </a:rPr>
              <a:t>This system enabled Lumileds Singapore to recycle  </a:t>
            </a:r>
            <a:r>
              <a:rPr lang="en-GB" sz="4000" b="1" dirty="0" smtClean="0">
                <a:solidFill>
                  <a:schemeClr val="tx2"/>
                </a:solidFill>
              </a:rPr>
              <a:t>43% </a:t>
            </a:r>
            <a:r>
              <a:rPr lang="en-GB" sz="1800" b="1" dirty="0" smtClean="0">
                <a:solidFill>
                  <a:schemeClr val="tx2"/>
                </a:solidFill>
              </a:rPr>
              <a:t>of water consumed. </a:t>
            </a:r>
            <a:endParaRPr lang="en-US" sz="1800" b="1" dirty="0">
              <a:solidFill>
                <a:schemeClr val="tx2"/>
              </a:solidFill>
              <a:effectLst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21356" y="5796981"/>
            <a:ext cx="3358055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u="sng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1 months </a:t>
            </a:r>
            <a:r>
              <a:rPr lang="en-US" sz="1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ith funding from PUB</a:t>
            </a:r>
            <a:endParaRPr lang="en-US" sz="18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7" name="Explosion 1 16"/>
          <p:cNvSpPr/>
          <p:nvPr/>
        </p:nvSpPr>
        <p:spPr bwMode="auto">
          <a:xfrm>
            <a:off x="1076103" y="3886200"/>
            <a:ext cx="2607542" cy="1910782"/>
          </a:xfrm>
          <a:prstGeom prst="irregularSeal1">
            <a:avLst/>
          </a:prstGeom>
          <a:gradFill>
            <a:gsLst>
              <a:gs pos="0">
                <a:schemeClr val="accent6">
                  <a:shade val="51000"/>
                  <a:satMod val="130000"/>
                  <a:lumMod val="63000"/>
                  <a:alpha val="77000"/>
                </a:schemeClr>
              </a:gs>
              <a:gs pos="80000">
                <a:schemeClr val="accent6">
                  <a:shade val="93000"/>
                  <a:satMod val="130000"/>
                </a:schemeClr>
              </a:gs>
              <a:gs pos="100000">
                <a:schemeClr val="accent6">
                  <a:shade val="94000"/>
                  <a:satMod val="135000"/>
                </a:schemeClr>
              </a:gs>
            </a:gsLst>
          </a:gradFill>
          <a:ln>
            <a:headEnd type="none" w="med" len="med"/>
            <a:tailEnd type="none" w="med" len="med"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800" b="1" u="sng" dirty="0" smtClean="0">
                <a:effectLst>
                  <a:outerShdw blurRad="50800" dist="38100" dir="5400000" algn="t" rotWithShape="0">
                    <a:prstClr val="black">
                      <a:alpha val="40000"/>
                    </a:prstClr>
                  </a:outerShdw>
                </a:effectLst>
              </a:rPr>
              <a:t>Return on Investment</a:t>
            </a:r>
            <a:endParaRPr kumimoji="0" lang="en-US" sz="1800" b="1" i="0" u="sng" strike="noStrike" cap="none" normalizeH="0" baseline="0" dirty="0" smtClean="0">
              <a:ln>
                <a:noFill/>
              </a:ln>
              <a:solidFill>
                <a:srgbClr val="000000"/>
              </a:solidFill>
              <a:effectLst>
                <a:outerShdw blurRad="50800" dist="38100" dir="5400000" algn="t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 xmlns="">
                  <a14:imgLayer r:embed="rId9">
                    <a14:imgEffect>
                      <a14:backgroundRemoval t="0" b="97030" l="2963" r="9481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7735" y="3605272"/>
            <a:ext cx="1152862" cy="1725023"/>
          </a:xfrm>
          <a:prstGeom prst="rect">
            <a:avLst/>
          </a:prstGeom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</p:pic>
      <p:sp>
        <p:nvSpPr>
          <p:cNvPr id="18" name="Title 1"/>
          <p:cNvSpPr txBox="1">
            <a:spLocks/>
          </p:cNvSpPr>
          <p:nvPr/>
        </p:nvSpPr>
        <p:spPr>
          <a:xfrm>
            <a:off x="993594" y="382930"/>
            <a:ext cx="5843934" cy="41717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US" dirty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Project Implementation -1 of </a:t>
            </a:r>
            <a:r>
              <a:rPr lang="en-US" dirty="0" smtClean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6</a:t>
            </a:r>
            <a:endParaRPr lang="en-US" dirty="0">
              <a:solidFill>
                <a:srgbClr val="2875CA"/>
              </a:solidFill>
              <a:latin typeface="Britannic Bold" pitchFamily="34" charset="0"/>
              <a:ea typeface="+mj-ea"/>
              <a:cs typeface="+mj-cs"/>
            </a:endParaRPr>
          </a:p>
        </p:txBody>
      </p:sp>
      <p:grpSp>
        <p:nvGrpSpPr>
          <p:cNvPr id="24" name="Group 23"/>
          <p:cNvGrpSpPr/>
          <p:nvPr/>
        </p:nvGrpSpPr>
        <p:grpSpPr>
          <a:xfrm rot="264182">
            <a:off x="86596" y="91470"/>
            <a:ext cx="777240" cy="777240"/>
            <a:chOff x="3728638" y="1092389"/>
            <a:chExt cx="914400" cy="914400"/>
          </a:xfrm>
        </p:grpSpPr>
        <p:grpSp>
          <p:nvGrpSpPr>
            <p:cNvPr id="25" name="Group 24"/>
            <p:cNvGrpSpPr/>
            <p:nvPr/>
          </p:nvGrpSpPr>
          <p:grpSpPr>
            <a:xfrm>
              <a:off x="3728638" y="1092389"/>
              <a:ext cx="914400" cy="914400"/>
              <a:chOff x="2378075" y="502896"/>
              <a:chExt cx="2066925" cy="2066925"/>
            </a:xfrm>
          </p:grpSpPr>
          <p:grpSp>
            <p:nvGrpSpPr>
              <p:cNvPr id="28" name="Group 28"/>
              <p:cNvGrpSpPr>
                <a:grpSpLocks/>
              </p:cNvGrpSpPr>
              <p:nvPr/>
            </p:nvGrpSpPr>
            <p:grpSpPr bwMode="auto">
              <a:xfrm>
                <a:off x="2378075" y="502896"/>
                <a:ext cx="2066925" cy="2066925"/>
                <a:chOff x="2333625" y="219075"/>
                <a:chExt cx="2066236" cy="2066236"/>
              </a:xfrm>
            </p:grpSpPr>
            <p:grpSp>
              <p:nvGrpSpPr>
                <p:cNvPr id="34" name="Group 154"/>
                <p:cNvGrpSpPr>
                  <a:grpSpLocks/>
                </p:cNvGrpSpPr>
                <p:nvPr/>
              </p:nvGrpSpPr>
              <p:grpSpPr bwMode="auto">
                <a:xfrm>
                  <a:off x="2333625" y="219075"/>
                  <a:ext cx="2066236" cy="2066236"/>
                  <a:chOff x="2844111" y="1118742"/>
                  <a:chExt cx="3508375" cy="3508375"/>
                </a:xfrm>
              </p:grpSpPr>
              <p:sp>
                <p:nvSpPr>
                  <p:cNvPr id="36" name="Freeform 6"/>
                  <p:cNvSpPr>
                    <a:spLocks noEditPoints="1"/>
                  </p:cNvSpPr>
                  <p:nvPr>
                    <p:custDataLst>
                      <p:tags r:id="rId2"/>
                    </p:custDataLst>
                  </p:nvPr>
                </p:nvSpPr>
                <p:spPr bwMode="gray">
                  <a:xfrm rot="3600000">
                    <a:off x="2844111" y="1118742"/>
                    <a:ext cx="3508375" cy="3508375"/>
                  </a:xfrm>
                  <a:custGeom>
                    <a:avLst/>
                    <a:gdLst/>
                    <a:ahLst/>
                    <a:cxnLst>
                      <a:cxn ang="0">
                        <a:pos x="292" y="0"/>
                      </a:cxn>
                      <a:cxn ang="0">
                        <a:pos x="0" y="293"/>
                      </a:cxn>
                      <a:cxn ang="0">
                        <a:pos x="292" y="585"/>
                      </a:cxn>
                      <a:cxn ang="0">
                        <a:pos x="585" y="293"/>
                      </a:cxn>
                      <a:cxn ang="0">
                        <a:pos x="292" y="0"/>
                      </a:cxn>
                      <a:cxn ang="0">
                        <a:pos x="292" y="539"/>
                      </a:cxn>
                      <a:cxn ang="0">
                        <a:pos x="46" y="293"/>
                      </a:cxn>
                      <a:cxn ang="0">
                        <a:pos x="292" y="46"/>
                      </a:cxn>
                      <a:cxn ang="0">
                        <a:pos x="539" y="293"/>
                      </a:cxn>
                      <a:cxn ang="0">
                        <a:pos x="292" y="539"/>
                      </a:cxn>
                    </a:cxnLst>
                    <a:rect l="0" t="0" r="r" b="b"/>
                    <a:pathLst>
                      <a:path w="585" h="585">
                        <a:moveTo>
                          <a:pt x="292" y="0"/>
                        </a:moveTo>
                        <a:cubicBezTo>
                          <a:pt x="131" y="0"/>
                          <a:pt x="0" y="131"/>
                          <a:pt x="0" y="293"/>
                        </a:cubicBezTo>
                        <a:cubicBezTo>
                          <a:pt x="0" y="454"/>
                          <a:pt x="131" y="585"/>
                          <a:pt x="292" y="585"/>
                        </a:cubicBezTo>
                        <a:cubicBezTo>
                          <a:pt x="454" y="585"/>
                          <a:pt x="585" y="454"/>
                          <a:pt x="585" y="293"/>
                        </a:cubicBezTo>
                        <a:cubicBezTo>
                          <a:pt x="585" y="131"/>
                          <a:pt x="454" y="0"/>
                          <a:pt x="292" y="0"/>
                        </a:cubicBezTo>
                        <a:close/>
                        <a:moveTo>
                          <a:pt x="292" y="539"/>
                        </a:moveTo>
                        <a:cubicBezTo>
                          <a:pt x="156" y="539"/>
                          <a:pt x="46" y="429"/>
                          <a:pt x="46" y="293"/>
                        </a:cubicBezTo>
                        <a:cubicBezTo>
                          <a:pt x="46" y="156"/>
                          <a:pt x="156" y="46"/>
                          <a:pt x="292" y="46"/>
                        </a:cubicBezTo>
                        <a:cubicBezTo>
                          <a:pt x="429" y="46"/>
                          <a:pt x="539" y="156"/>
                          <a:pt x="539" y="293"/>
                        </a:cubicBezTo>
                        <a:cubicBezTo>
                          <a:pt x="539" y="429"/>
                          <a:pt x="429" y="539"/>
                          <a:pt x="292" y="539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4"/>
                  </a:lnRef>
                  <a:fillRef idx="3">
                    <a:schemeClr val="accent4"/>
                  </a:fillRef>
                  <a:effectRef idx="3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sz="900"/>
                  </a:p>
                </p:txBody>
              </p:sp>
              <p:sp>
                <p:nvSpPr>
                  <p:cNvPr id="37" name="Ellipse 12"/>
                  <p:cNvSpPr>
                    <a:spLocks noChangeArrowheads="1"/>
                  </p:cNvSpPr>
                  <p:nvPr/>
                </p:nvSpPr>
                <p:spPr bwMode="auto">
                  <a:xfrm>
                    <a:off x="3948899" y="2247780"/>
                    <a:ext cx="1279938" cy="127993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353637"/>
                      </a:gs>
                      <a:gs pos="100000">
                        <a:srgbClr val="151616"/>
                      </a:gs>
                    </a:gsLst>
                    <a:path path="shape">
                      <a:fillToRect l="50000" t="50000" r="50000" b="50000"/>
                    </a:path>
                  </a:gradFill>
                  <a:ln w="9525">
                    <a:solidFill>
                      <a:srgbClr val="191919"/>
                    </a:solidFill>
                    <a:round/>
                    <a:headEnd/>
                    <a:tailEnd/>
                  </a:ln>
                  <a:effectLst>
                    <a:outerShdw dist="23000" dir="5400000" rotWithShape="0">
                      <a:srgbClr val="808080">
                        <a:alpha val="34999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latin typeface="Calibri" charset="0"/>
                    </a:endParaRPr>
                  </a:p>
                </p:txBody>
              </p:sp>
              <p:sp>
                <p:nvSpPr>
                  <p:cNvPr id="38" name="Ellipse 13"/>
                  <p:cNvSpPr/>
                  <p:nvPr/>
                </p:nvSpPr>
                <p:spPr bwMode="auto">
                  <a:xfrm>
                    <a:off x="4118660" y="2304368"/>
                    <a:ext cx="940416" cy="692512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tx2">
                          <a:lumMod val="40000"/>
                          <a:lumOff val="60000"/>
                          <a:alpha val="0"/>
                        </a:schemeClr>
                      </a:gs>
                      <a:gs pos="100000">
                        <a:schemeClr val="bg1">
                          <a:alpha val="77000"/>
                        </a:schemeClr>
                      </a:gs>
                    </a:gsLst>
                    <a:lin ang="162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ea typeface="ＭＳ Ｐゴシック" charset="-128"/>
                    </a:endParaRPr>
                  </a:p>
                </p:txBody>
              </p:sp>
              <p:sp>
                <p:nvSpPr>
                  <p:cNvPr id="39" name="Block Arc 38"/>
                  <p:cNvSpPr/>
                  <p:nvPr/>
                </p:nvSpPr>
                <p:spPr>
                  <a:xfrm rot="18729919">
                    <a:off x="3230788" y="1508111"/>
                    <a:ext cx="2726940" cy="2729633"/>
                  </a:xfrm>
                  <a:prstGeom prst="blockArc">
                    <a:avLst>
                      <a:gd name="adj1" fmla="val 574634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900"/>
                  </a:p>
                </p:txBody>
              </p:sp>
              <p:sp>
                <p:nvSpPr>
                  <p:cNvPr id="40" name="Block Arc 39"/>
                  <p:cNvSpPr/>
                  <p:nvPr/>
                </p:nvSpPr>
                <p:spPr>
                  <a:xfrm rot="1352524">
                    <a:off x="3229440" y="1509459"/>
                    <a:ext cx="2729633" cy="2726940"/>
                  </a:xfrm>
                  <a:prstGeom prst="blockArc">
                    <a:avLst>
                      <a:gd name="adj1" fmla="val 596470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1" name="Block Arc 40"/>
                  <p:cNvSpPr/>
                  <p:nvPr/>
                </p:nvSpPr>
                <p:spPr>
                  <a:xfrm rot="5869595">
                    <a:off x="3230788" y="1508111"/>
                    <a:ext cx="2726940" cy="2729633"/>
                  </a:xfrm>
                  <a:prstGeom prst="blockArc">
                    <a:avLst>
                      <a:gd name="adj1" fmla="val 5627424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2" name="Block Arc 41"/>
                  <p:cNvSpPr/>
                  <p:nvPr/>
                </p:nvSpPr>
                <p:spPr>
                  <a:xfrm rot="10291675">
                    <a:off x="3229440" y="1509459"/>
                    <a:ext cx="2729633" cy="2726940"/>
                  </a:xfrm>
                  <a:prstGeom prst="blockArc">
                    <a:avLst>
                      <a:gd name="adj1" fmla="val 5803831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3" name="Block Arc 42"/>
                  <p:cNvSpPr/>
                  <p:nvPr/>
                </p:nvSpPr>
                <p:spPr>
                  <a:xfrm rot="14301489">
                    <a:off x="3230788" y="1508111"/>
                    <a:ext cx="2726940" cy="2729633"/>
                  </a:xfrm>
                  <a:prstGeom prst="blockArc">
                    <a:avLst>
                      <a:gd name="adj1" fmla="val 6140645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</p:grpSp>
            <p:sp>
              <p:nvSpPr>
                <p:cNvPr id="35" name="Ellipse 15"/>
                <p:cNvSpPr/>
                <p:nvPr/>
              </p:nvSpPr>
              <p:spPr bwMode="auto">
                <a:xfrm>
                  <a:off x="2763695" y="465055"/>
                  <a:ext cx="1237837" cy="91568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900" dirty="0"/>
                </a:p>
              </p:txBody>
            </p:sp>
          </p:grpSp>
          <p:sp>
            <p:nvSpPr>
              <p:cNvPr id="29" name="TextBox 29"/>
              <p:cNvSpPr txBox="1">
                <a:spLocks noChangeArrowheads="1"/>
              </p:cNvSpPr>
              <p:nvPr/>
            </p:nvSpPr>
            <p:spPr bwMode="auto">
              <a:xfrm>
                <a:off x="2754110" y="771753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D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30" name="TextBox 29"/>
              <p:cNvSpPr txBox="1">
                <a:spLocks noChangeArrowheads="1"/>
              </p:cNvSpPr>
              <p:nvPr/>
            </p:nvSpPr>
            <p:spPr bwMode="auto">
              <a:xfrm>
                <a:off x="2584640" y="1514847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M</a:t>
                </a:r>
              </a:p>
            </p:txBody>
          </p:sp>
          <p:sp>
            <p:nvSpPr>
              <p:cNvPr id="31" name="TextBox 29"/>
              <p:cNvSpPr txBox="1">
                <a:spLocks noChangeArrowheads="1"/>
              </p:cNvSpPr>
              <p:nvPr/>
            </p:nvSpPr>
            <p:spPr bwMode="auto">
              <a:xfrm>
                <a:off x="3253164" y="1880209"/>
                <a:ext cx="289718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A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32" name="TextBox 29"/>
              <p:cNvSpPr txBox="1">
                <a:spLocks noChangeArrowheads="1"/>
              </p:cNvSpPr>
              <p:nvPr/>
            </p:nvSpPr>
            <p:spPr bwMode="auto">
              <a:xfrm>
                <a:off x="3844923" y="13567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I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33" name="TextBox 29"/>
              <p:cNvSpPr txBox="1">
                <a:spLocks noChangeArrowheads="1"/>
              </p:cNvSpPr>
              <p:nvPr/>
            </p:nvSpPr>
            <p:spPr bwMode="auto">
              <a:xfrm>
                <a:off x="3487620" y="7158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C</a:t>
                </a:r>
              </a:p>
            </p:txBody>
          </p:sp>
        </p:grpSp>
        <p:sp>
          <p:nvSpPr>
            <p:cNvPr id="27" name="TextBox 29"/>
            <p:cNvSpPr txBox="1">
              <a:spLocks noChangeArrowheads="1"/>
            </p:cNvSpPr>
            <p:nvPr/>
          </p:nvSpPr>
          <p:spPr bwMode="auto">
            <a:xfrm rot="21335818">
              <a:off x="4093795" y="1350066"/>
              <a:ext cx="128171" cy="398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da-DK" sz="1600" b="1" dirty="0" smtClean="0">
                  <a:solidFill>
                    <a:schemeClr val="bg1"/>
                  </a:solidFill>
                </a:rPr>
                <a:t>I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0785110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" name="Picture 13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rot="10800000" flipH="1">
            <a:off x="851" y="1288537"/>
            <a:ext cx="9143149" cy="5569461"/>
          </a:xfrm>
          <a:prstGeom prst="rect">
            <a:avLst/>
          </a:prstGeom>
        </p:spPr>
      </p:pic>
      <p:sp>
        <p:nvSpPr>
          <p:cNvPr id="140" name="Rectangle 139"/>
          <p:cNvSpPr/>
          <p:nvPr/>
        </p:nvSpPr>
        <p:spPr>
          <a:xfrm rot="16200000">
            <a:off x="2100018" y="-810630"/>
            <a:ext cx="4962138" cy="916047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91470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5" name="Group 104"/>
          <p:cNvGrpSpPr/>
          <p:nvPr/>
        </p:nvGrpSpPr>
        <p:grpSpPr>
          <a:xfrm>
            <a:off x="851" y="864825"/>
            <a:ext cx="9144000" cy="400759"/>
            <a:chOff x="0" y="0"/>
            <a:chExt cx="9144000" cy="556968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07" name="Rectangle 106"/>
            <p:cNvSpPr/>
            <p:nvPr/>
          </p:nvSpPr>
          <p:spPr>
            <a:xfrm>
              <a:off x="0" y="0"/>
              <a:ext cx="9144000" cy="556968"/>
            </a:xfrm>
            <a:prstGeom prst="rect">
              <a:avLst/>
            </a:prstGeom>
            <a:sp3d prstMaterial="plastic">
              <a:bevelT w="127000" h="25400" prst="relaxedInset"/>
              <a:bevelB w="88900" h="121750" prst="angle"/>
            </a:sp3d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shade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shade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6" name="Rectangle 115"/>
            <p:cNvSpPr/>
            <p:nvPr/>
          </p:nvSpPr>
          <p:spPr>
            <a:xfrm>
              <a:off x="0" y="0"/>
              <a:ext cx="9144000" cy="55696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Aft>
                  <a:spcPct val="35000"/>
                </a:spcAft>
              </a:pPr>
              <a:r>
                <a:rPr lang="en-US" sz="2400" dirty="0"/>
                <a:t>De-ionized </a:t>
              </a:r>
              <a:r>
                <a:rPr lang="en-US" sz="2400" dirty="0" smtClean="0"/>
                <a:t>Water </a:t>
              </a:r>
              <a:r>
                <a:rPr lang="en-US" sz="2400" dirty="0"/>
                <a:t>S</a:t>
              </a:r>
              <a:r>
                <a:rPr lang="en-US" sz="2400" dirty="0" smtClean="0"/>
                <a:t>ystems</a:t>
              </a:r>
              <a:r>
                <a:rPr lang="en-US" sz="2400" dirty="0"/>
                <a:t>’ </a:t>
              </a:r>
              <a:r>
                <a:rPr lang="en-US" sz="2400" dirty="0" smtClean="0"/>
                <a:t>Upgrading</a:t>
              </a:r>
              <a:endParaRPr lang="en-US" sz="2400" dirty="0"/>
            </a:p>
          </p:txBody>
        </p:sp>
      </p:grpSp>
      <p:sp>
        <p:nvSpPr>
          <p:cNvPr id="84" name="TextBox 83"/>
          <p:cNvSpPr txBox="1"/>
          <p:nvPr/>
        </p:nvSpPr>
        <p:spPr>
          <a:xfrm>
            <a:off x="2166188" y="1288537"/>
            <a:ext cx="4571899" cy="338554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600" dirty="0" smtClean="0"/>
              <a:t>DI Water Loop 1 Schematic Drawing</a:t>
            </a:r>
            <a:endParaRPr lang="en-US" sz="1600" dirty="0"/>
          </a:p>
        </p:txBody>
      </p:sp>
      <p:sp>
        <p:nvSpPr>
          <p:cNvPr id="71" name="Title 1"/>
          <p:cNvSpPr txBox="1">
            <a:spLocks/>
          </p:cNvSpPr>
          <p:nvPr/>
        </p:nvSpPr>
        <p:spPr>
          <a:xfrm>
            <a:off x="959416" y="360806"/>
            <a:ext cx="5528348" cy="41717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US" dirty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Project Implementation </a:t>
            </a:r>
            <a:r>
              <a:rPr lang="en-US" dirty="0" smtClean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-2 </a:t>
            </a:r>
            <a:r>
              <a:rPr lang="en-US" dirty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of </a:t>
            </a:r>
            <a:r>
              <a:rPr lang="en-US" dirty="0" smtClean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6</a:t>
            </a:r>
            <a:endParaRPr lang="en-US" dirty="0">
              <a:solidFill>
                <a:srgbClr val="2875CA"/>
              </a:solidFill>
              <a:latin typeface="Britannic Bold" pitchFamily="34" charset="0"/>
              <a:ea typeface="+mj-ea"/>
              <a:cs typeface="+mj-cs"/>
            </a:endParaRPr>
          </a:p>
        </p:txBody>
      </p:sp>
      <p:grpSp>
        <p:nvGrpSpPr>
          <p:cNvPr id="75" name="Group 74"/>
          <p:cNvGrpSpPr/>
          <p:nvPr/>
        </p:nvGrpSpPr>
        <p:grpSpPr>
          <a:xfrm rot="264182">
            <a:off x="86596" y="91470"/>
            <a:ext cx="777240" cy="777240"/>
            <a:chOff x="3728638" y="1092389"/>
            <a:chExt cx="914400" cy="914400"/>
          </a:xfrm>
        </p:grpSpPr>
        <p:grpSp>
          <p:nvGrpSpPr>
            <p:cNvPr id="76" name="Group 75"/>
            <p:cNvGrpSpPr/>
            <p:nvPr/>
          </p:nvGrpSpPr>
          <p:grpSpPr>
            <a:xfrm>
              <a:off x="3728638" y="1092389"/>
              <a:ext cx="914400" cy="914400"/>
              <a:chOff x="2378075" y="502896"/>
              <a:chExt cx="2066925" cy="2066925"/>
            </a:xfrm>
          </p:grpSpPr>
          <p:grpSp>
            <p:nvGrpSpPr>
              <p:cNvPr id="78" name="Group 28"/>
              <p:cNvGrpSpPr>
                <a:grpSpLocks/>
              </p:cNvGrpSpPr>
              <p:nvPr/>
            </p:nvGrpSpPr>
            <p:grpSpPr bwMode="auto">
              <a:xfrm>
                <a:off x="2378075" y="502896"/>
                <a:ext cx="2066925" cy="2066925"/>
                <a:chOff x="2333625" y="219075"/>
                <a:chExt cx="2066236" cy="2066236"/>
              </a:xfrm>
            </p:grpSpPr>
            <p:grpSp>
              <p:nvGrpSpPr>
                <p:cNvPr id="85" name="Group 154"/>
                <p:cNvGrpSpPr>
                  <a:grpSpLocks/>
                </p:cNvGrpSpPr>
                <p:nvPr/>
              </p:nvGrpSpPr>
              <p:grpSpPr bwMode="auto">
                <a:xfrm>
                  <a:off x="2333625" y="219075"/>
                  <a:ext cx="2066236" cy="2066236"/>
                  <a:chOff x="2844111" y="1118742"/>
                  <a:chExt cx="3508375" cy="3508375"/>
                </a:xfrm>
              </p:grpSpPr>
              <p:sp>
                <p:nvSpPr>
                  <p:cNvPr id="87" name="Freeform 6"/>
                  <p:cNvSpPr>
                    <a:spLocks noEditPoints="1"/>
                  </p:cNvSpPr>
                  <p:nvPr>
                    <p:custDataLst>
                      <p:tags r:id="rId2"/>
                    </p:custDataLst>
                  </p:nvPr>
                </p:nvSpPr>
                <p:spPr bwMode="gray">
                  <a:xfrm rot="3600000">
                    <a:off x="2844111" y="1118742"/>
                    <a:ext cx="3508375" cy="3508375"/>
                  </a:xfrm>
                  <a:custGeom>
                    <a:avLst/>
                    <a:gdLst/>
                    <a:ahLst/>
                    <a:cxnLst>
                      <a:cxn ang="0">
                        <a:pos x="292" y="0"/>
                      </a:cxn>
                      <a:cxn ang="0">
                        <a:pos x="0" y="293"/>
                      </a:cxn>
                      <a:cxn ang="0">
                        <a:pos x="292" y="585"/>
                      </a:cxn>
                      <a:cxn ang="0">
                        <a:pos x="585" y="293"/>
                      </a:cxn>
                      <a:cxn ang="0">
                        <a:pos x="292" y="0"/>
                      </a:cxn>
                      <a:cxn ang="0">
                        <a:pos x="292" y="539"/>
                      </a:cxn>
                      <a:cxn ang="0">
                        <a:pos x="46" y="293"/>
                      </a:cxn>
                      <a:cxn ang="0">
                        <a:pos x="292" y="46"/>
                      </a:cxn>
                      <a:cxn ang="0">
                        <a:pos x="539" y="293"/>
                      </a:cxn>
                      <a:cxn ang="0">
                        <a:pos x="292" y="539"/>
                      </a:cxn>
                    </a:cxnLst>
                    <a:rect l="0" t="0" r="r" b="b"/>
                    <a:pathLst>
                      <a:path w="585" h="585">
                        <a:moveTo>
                          <a:pt x="292" y="0"/>
                        </a:moveTo>
                        <a:cubicBezTo>
                          <a:pt x="131" y="0"/>
                          <a:pt x="0" y="131"/>
                          <a:pt x="0" y="293"/>
                        </a:cubicBezTo>
                        <a:cubicBezTo>
                          <a:pt x="0" y="454"/>
                          <a:pt x="131" y="585"/>
                          <a:pt x="292" y="585"/>
                        </a:cubicBezTo>
                        <a:cubicBezTo>
                          <a:pt x="454" y="585"/>
                          <a:pt x="585" y="454"/>
                          <a:pt x="585" y="293"/>
                        </a:cubicBezTo>
                        <a:cubicBezTo>
                          <a:pt x="585" y="131"/>
                          <a:pt x="454" y="0"/>
                          <a:pt x="292" y="0"/>
                        </a:cubicBezTo>
                        <a:close/>
                        <a:moveTo>
                          <a:pt x="292" y="539"/>
                        </a:moveTo>
                        <a:cubicBezTo>
                          <a:pt x="156" y="539"/>
                          <a:pt x="46" y="429"/>
                          <a:pt x="46" y="293"/>
                        </a:cubicBezTo>
                        <a:cubicBezTo>
                          <a:pt x="46" y="156"/>
                          <a:pt x="156" y="46"/>
                          <a:pt x="292" y="46"/>
                        </a:cubicBezTo>
                        <a:cubicBezTo>
                          <a:pt x="429" y="46"/>
                          <a:pt x="539" y="156"/>
                          <a:pt x="539" y="293"/>
                        </a:cubicBezTo>
                        <a:cubicBezTo>
                          <a:pt x="539" y="429"/>
                          <a:pt x="429" y="539"/>
                          <a:pt x="292" y="539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4"/>
                  </a:lnRef>
                  <a:fillRef idx="3">
                    <a:schemeClr val="accent4"/>
                  </a:fillRef>
                  <a:effectRef idx="3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sz="900"/>
                  </a:p>
                </p:txBody>
              </p:sp>
              <p:sp>
                <p:nvSpPr>
                  <p:cNvPr id="88" name="Ellipse 12"/>
                  <p:cNvSpPr>
                    <a:spLocks noChangeArrowheads="1"/>
                  </p:cNvSpPr>
                  <p:nvPr/>
                </p:nvSpPr>
                <p:spPr bwMode="auto">
                  <a:xfrm>
                    <a:off x="3948899" y="2247780"/>
                    <a:ext cx="1279938" cy="127993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353637"/>
                      </a:gs>
                      <a:gs pos="100000">
                        <a:srgbClr val="151616"/>
                      </a:gs>
                    </a:gsLst>
                    <a:path path="shape">
                      <a:fillToRect l="50000" t="50000" r="50000" b="50000"/>
                    </a:path>
                  </a:gradFill>
                  <a:ln w="9525">
                    <a:solidFill>
                      <a:srgbClr val="191919"/>
                    </a:solidFill>
                    <a:round/>
                    <a:headEnd/>
                    <a:tailEnd/>
                  </a:ln>
                  <a:effectLst>
                    <a:outerShdw dist="23000" dir="5400000" rotWithShape="0">
                      <a:srgbClr val="808080">
                        <a:alpha val="34999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latin typeface="Calibri" charset="0"/>
                    </a:endParaRPr>
                  </a:p>
                </p:txBody>
              </p:sp>
              <p:sp>
                <p:nvSpPr>
                  <p:cNvPr id="89" name="Ellipse 13"/>
                  <p:cNvSpPr/>
                  <p:nvPr/>
                </p:nvSpPr>
                <p:spPr bwMode="auto">
                  <a:xfrm>
                    <a:off x="4118660" y="2304368"/>
                    <a:ext cx="940416" cy="692512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tx2">
                          <a:lumMod val="40000"/>
                          <a:lumOff val="60000"/>
                          <a:alpha val="0"/>
                        </a:schemeClr>
                      </a:gs>
                      <a:gs pos="100000">
                        <a:schemeClr val="bg1">
                          <a:alpha val="77000"/>
                        </a:schemeClr>
                      </a:gs>
                    </a:gsLst>
                    <a:lin ang="162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ea typeface="ＭＳ Ｐゴシック" charset="-128"/>
                    </a:endParaRPr>
                  </a:p>
                </p:txBody>
              </p:sp>
              <p:sp>
                <p:nvSpPr>
                  <p:cNvPr id="90" name="Block Arc 89"/>
                  <p:cNvSpPr/>
                  <p:nvPr/>
                </p:nvSpPr>
                <p:spPr>
                  <a:xfrm rot="18729919">
                    <a:off x="3230788" y="1508111"/>
                    <a:ext cx="2726940" cy="2729633"/>
                  </a:xfrm>
                  <a:prstGeom prst="blockArc">
                    <a:avLst>
                      <a:gd name="adj1" fmla="val 574634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900"/>
                  </a:p>
                </p:txBody>
              </p:sp>
              <p:sp>
                <p:nvSpPr>
                  <p:cNvPr id="109" name="Block Arc 108"/>
                  <p:cNvSpPr/>
                  <p:nvPr/>
                </p:nvSpPr>
                <p:spPr>
                  <a:xfrm rot="1352524">
                    <a:off x="3229440" y="1509459"/>
                    <a:ext cx="2729633" cy="2726940"/>
                  </a:xfrm>
                  <a:prstGeom prst="blockArc">
                    <a:avLst>
                      <a:gd name="adj1" fmla="val 596470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110" name="Block Arc 109"/>
                  <p:cNvSpPr/>
                  <p:nvPr/>
                </p:nvSpPr>
                <p:spPr>
                  <a:xfrm rot="5869595">
                    <a:off x="3230788" y="1508111"/>
                    <a:ext cx="2726940" cy="2729633"/>
                  </a:xfrm>
                  <a:prstGeom prst="blockArc">
                    <a:avLst>
                      <a:gd name="adj1" fmla="val 5627424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117" name="Block Arc 116"/>
                  <p:cNvSpPr/>
                  <p:nvPr/>
                </p:nvSpPr>
                <p:spPr>
                  <a:xfrm rot="10291675">
                    <a:off x="3229440" y="1509459"/>
                    <a:ext cx="2729633" cy="2726940"/>
                  </a:xfrm>
                  <a:prstGeom prst="blockArc">
                    <a:avLst>
                      <a:gd name="adj1" fmla="val 5803831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119" name="Block Arc 118"/>
                  <p:cNvSpPr/>
                  <p:nvPr/>
                </p:nvSpPr>
                <p:spPr>
                  <a:xfrm rot="14301489">
                    <a:off x="3230788" y="1508111"/>
                    <a:ext cx="2726940" cy="2729633"/>
                  </a:xfrm>
                  <a:prstGeom prst="blockArc">
                    <a:avLst>
                      <a:gd name="adj1" fmla="val 6140645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</p:grpSp>
            <p:sp>
              <p:nvSpPr>
                <p:cNvPr id="86" name="Ellipse 15"/>
                <p:cNvSpPr/>
                <p:nvPr/>
              </p:nvSpPr>
              <p:spPr bwMode="auto">
                <a:xfrm>
                  <a:off x="2763695" y="465055"/>
                  <a:ext cx="1237837" cy="91568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900" dirty="0"/>
                </a:p>
              </p:txBody>
            </p:sp>
          </p:grpSp>
          <p:sp>
            <p:nvSpPr>
              <p:cNvPr id="79" name="TextBox 29"/>
              <p:cNvSpPr txBox="1">
                <a:spLocks noChangeArrowheads="1"/>
              </p:cNvSpPr>
              <p:nvPr/>
            </p:nvSpPr>
            <p:spPr bwMode="auto">
              <a:xfrm>
                <a:off x="2754110" y="771753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D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80" name="TextBox 29"/>
              <p:cNvSpPr txBox="1">
                <a:spLocks noChangeArrowheads="1"/>
              </p:cNvSpPr>
              <p:nvPr/>
            </p:nvSpPr>
            <p:spPr bwMode="auto">
              <a:xfrm>
                <a:off x="2584640" y="1514847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M</a:t>
                </a:r>
              </a:p>
            </p:txBody>
          </p:sp>
          <p:sp>
            <p:nvSpPr>
              <p:cNvPr id="81" name="TextBox 29"/>
              <p:cNvSpPr txBox="1">
                <a:spLocks noChangeArrowheads="1"/>
              </p:cNvSpPr>
              <p:nvPr/>
            </p:nvSpPr>
            <p:spPr bwMode="auto">
              <a:xfrm>
                <a:off x="3253164" y="1880209"/>
                <a:ext cx="289718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A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82" name="TextBox 29"/>
              <p:cNvSpPr txBox="1">
                <a:spLocks noChangeArrowheads="1"/>
              </p:cNvSpPr>
              <p:nvPr/>
            </p:nvSpPr>
            <p:spPr bwMode="auto">
              <a:xfrm>
                <a:off x="3844923" y="13567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I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83" name="TextBox 29"/>
              <p:cNvSpPr txBox="1">
                <a:spLocks noChangeArrowheads="1"/>
              </p:cNvSpPr>
              <p:nvPr/>
            </p:nvSpPr>
            <p:spPr bwMode="auto">
              <a:xfrm>
                <a:off x="3487620" y="7158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C</a:t>
                </a:r>
              </a:p>
            </p:txBody>
          </p:sp>
        </p:grpSp>
        <p:sp>
          <p:nvSpPr>
            <p:cNvPr id="77" name="TextBox 29"/>
            <p:cNvSpPr txBox="1">
              <a:spLocks noChangeArrowheads="1"/>
            </p:cNvSpPr>
            <p:nvPr/>
          </p:nvSpPr>
          <p:spPr bwMode="auto">
            <a:xfrm rot="21335818">
              <a:off x="4093795" y="1350066"/>
              <a:ext cx="128171" cy="398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da-DK" sz="1600" b="1" dirty="0" smtClean="0">
                  <a:solidFill>
                    <a:schemeClr val="bg1"/>
                  </a:solidFill>
                </a:rPr>
                <a:t>I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43163" y="1627091"/>
            <a:ext cx="6825354" cy="26897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4" name="TextBox 1"/>
          <p:cNvSpPr txBox="1"/>
          <p:nvPr/>
        </p:nvSpPr>
        <p:spPr>
          <a:xfrm>
            <a:off x="982480" y="5305815"/>
            <a:ext cx="5742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72%</a:t>
            </a:r>
            <a:endParaRPr lang="en-US" sz="1400" b="1" dirty="0">
              <a:solidFill>
                <a:schemeClr val="tx1"/>
              </a:solidFill>
            </a:endParaRPr>
          </a:p>
        </p:txBody>
      </p:sp>
      <p:grpSp>
        <p:nvGrpSpPr>
          <p:cNvPr id="2" name="Group 1"/>
          <p:cNvGrpSpPr/>
          <p:nvPr/>
        </p:nvGrpSpPr>
        <p:grpSpPr>
          <a:xfrm>
            <a:off x="117587" y="3636737"/>
            <a:ext cx="4454838" cy="2708233"/>
            <a:chOff x="117587" y="3636737"/>
            <a:chExt cx="4454838" cy="2708233"/>
          </a:xfrm>
        </p:grpSpPr>
        <p:grpSp>
          <p:nvGrpSpPr>
            <p:cNvPr id="121" name="Group 120"/>
            <p:cNvGrpSpPr/>
            <p:nvPr/>
          </p:nvGrpSpPr>
          <p:grpSpPr>
            <a:xfrm>
              <a:off x="117587" y="3636737"/>
              <a:ext cx="4454838" cy="2708233"/>
              <a:chOff x="1043800" y="3404559"/>
              <a:chExt cx="4454838" cy="2708233"/>
            </a:xfrm>
          </p:grpSpPr>
          <p:graphicFrame>
            <p:nvGraphicFramePr>
              <p:cNvPr id="122" name="Chart 121"/>
              <p:cNvGraphicFramePr/>
              <p:nvPr>
                <p:extLst>
                  <p:ext uri="{D42A27DB-BD31-4B8C-83A1-F6EECF244321}">
                    <p14:modId xmlns:p14="http://schemas.microsoft.com/office/powerpoint/2010/main" xmlns="" val="1004104483"/>
                  </p:ext>
                </p:extLst>
              </p:nvPr>
            </p:nvGraphicFramePr>
            <p:xfrm>
              <a:off x="1043800" y="3404559"/>
              <a:ext cx="4454838" cy="2708233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7"/>
              </a:graphicData>
            </a:graphic>
          </p:graphicFrame>
          <p:sp>
            <p:nvSpPr>
              <p:cNvPr id="126" name="TextBox 1"/>
              <p:cNvSpPr txBox="1"/>
              <p:nvPr/>
            </p:nvSpPr>
            <p:spPr>
              <a:xfrm>
                <a:off x="3804495" y="5061413"/>
                <a:ext cx="574284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>
                <a:lvl1pPr marL="0" indent="0">
                  <a:defRPr sz="1100">
                    <a:latin typeface="+mn-lt"/>
                    <a:ea typeface="+mn-ea"/>
                    <a:cs typeface="+mn-cs"/>
                  </a:defRPr>
                </a:lvl1pPr>
                <a:lvl2pPr marL="457200" indent="0">
                  <a:defRPr sz="1100">
                    <a:latin typeface="+mn-lt"/>
                    <a:ea typeface="+mn-ea"/>
                    <a:cs typeface="+mn-cs"/>
                  </a:defRPr>
                </a:lvl2pPr>
                <a:lvl3pPr marL="914400" indent="0">
                  <a:defRPr sz="1100">
                    <a:latin typeface="+mn-lt"/>
                    <a:ea typeface="+mn-ea"/>
                    <a:cs typeface="+mn-cs"/>
                  </a:defRPr>
                </a:lvl3pPr>
                <a:lvl4pPr marL="1371600" indent="0">
                  <a:defRPr sz="1100">
                    <a:latin typeface="+mn-lt"/>
                    <a:ea typeface="+mn-ea"/>
                    <a:cs typeface="+mn-cs"/>
                  </a:defRPr>
                </a:lvl4pPr>
                <a:lvl5pPr marL="1828800" indent="0">
                  <a:defRPr sz="1100">
                    <a:latin typeface="+mn-lt"/>
                    <a:ea typeface="+mn-ea"/>
                    <a:cs typeface="+mn-cs"/>
                  </a:defRPr>
                </a:lvl5pPr>
                <a:lvl6pPr marL="2286000" indent="0">
                  <a:defRPr sz="1100">
                    <a:latin typeface="+mn-lt"/>
                    <a:ea typeface="+mn-ea"/>
                    <a:cs typeface="+mn-cs"/>
                  </a:defRPr>
                </a:lvl6pPr>
                <a:lvl7pPr marL="2743200" indent="0">
                  <a:defRPr sz="1100">
                    <a:latin typeface="+mn-lt"/>
                    <a:ea typeface="+mn-ea"/>
                    <a:cs typeface="+mn-cs"/>
                  </a:defRPr>
                </a:lvl7pPr>
                <a:lvl8pPr marL="3200400" indent="0">
                  <a:defRPr sz="1100">
                    <a:latin typeface="+mn-lt"/>
                    <a:ea typeface="+mn-ea"/>
                    <a:cs typeface="+mn-cs"/>
                  </a:defRPr>
                </a:lvl8pPr>
                <a:lvl9pPr marL="3657600" indent="0">
                  <a:defRPr sz="1100"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1400" b="1" dirty="0" smtClean="0">
                    <a:solidFill>
                      <a:schemeClr val="tx1"/>
                    </a:solidFill>
                  </a:rPr>
                  <a:t>86%</a:t>
                </a:r>
                <a:endParaRPr lang="en-US" sz="1400" b="1" dirty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6" name="Rectangle 5"/>
            <p:cNvSpPr/>
            <p:nvPr/>
          </p:nvSpPr>
          <p:spPr>
            <a:xfrm>
              <a:off x="574208" y="5855605"/>
              <a:ext cx="1390829" cy="48936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 algn="ctr" defTabSz="1333500">
                <a:lnSpc>
                  <a:spcPct val="90000"/>
                </a:lnSpc>
                <a:spcAft>
                  <a:spcPct val="35000"/>
                </a:spcAft>
              </a:pPr>
              <a:r>
                <a:rPr lang="en-GB" sz="12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Inefficient </a:t>
              </a:r>
              <a:endParaRPr lang="en-GB" sz="12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  <a:p>
              <a:pPr lvl="0" algn="ctr" defTabSz="1333500">
                <a:lnSpc>
                  <a:spcPct val="90000"/>
                </a:lnSpc>
                <a:spcAft>
                  <a:spcPct val="35000"/>
                </a:spcAft>
              </a:pPr>
              <a:r>
                <a:rPr lang="en-GB" sz="12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DI </a:t>
              </a:r>
              <a:r>
                <a:rPr lang="en-GB" sz="1200" b="1" dirty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Water System</a:t>
              </a:r>
            </a:p>
          </p:txBody>
        </p:sp>
        <p:sp>
          <p:nvSpPr>
            <p:cNvPr id="137" name="Freeform 136"/>
            <p:cNvSpPr/>
            <p:nvPr/>
          </p:nvSpPr>
          <p:spPr>
            <a:xfrm flipH="1">
              <a:off x="2166186" y="5898746"/>
              <a:ext cx="1966095" cy="403082"/>
            </a:xfrm>
            <a:custGeom>
              <a:avLst/>
              <a:gdLst>
                <a:gd name="connsiteX0" fmla="*/ 0 w 2692661"/>
                <a:gd name="connsiteY0" fmla="*/ 0 h 887354"/>
                <a:gd name="connsiteX1" fmla="*/ 2692661 w 2692661"/>
                <a:gd name="connsiteY1" fmla="*/ 0 h 887354"/>
                <a:gd name="connsiteX2" fmla="*/ 2692661 w 2692661"/>
                <a:gd name="connsiteY2" fmla="*/ 887354 h 887354"/>
                <a:gd name="connsiteX3" fmla="*/ 0 w 2692661"/>
                <a:gd name="connsiteY3" fmla="*/ 887354 h 887354"/>
                <a:gd name="connsiteX4" fmla="*/ 0 w 2692661"/>
                <a:gd name="connsiteY4" fmla="*/ 0 h 8873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692661" h="887354">
                  <a:moveTo>
                    <a:pt x="0" y="0"/>
                  </a:moveTo>
                  <a:lnTo>
                    <a:pt x="2692661" y="0"/>
                  </a:lnTo>
                  <a:lnTo>
                    <a:pt x="2692661" y="887354"/>
                  </a:lnTo>
                  <a:lnTo>
                    <a:pt x="0" y="88735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8100" tIns="38100" rIns="38100" bIns="38100" numCol="1" spcCol="1270" anchor="ctr" anchorCtr="0">
              <a:noAutofit/>
            </a:bodyPr>
            <a:lstStyle/>
            <a:p>
              <a:pPr lvl="0" algn="ctr" defTabSz="1333500">
                <a:lnSpc>
                  <a:spcPct val="90000"/>
                </a:lnSpc>
                <a:spcAft>
                  <a:spcPct val="35000"/>
                </a:spcAft>
              </a:pPr>
              <a:r>
                <a:rPr lang="en-GB" sz="12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Highly Efficient </a:t>
              </a:r>
            </a:p>
            <a:p>
              <a:pPr lvl="0" algn="ctr" defTabSz="1333500">
                <a:lnSpc>
                  <a:spcPct val="90000"/>
                </a:lnSpc>
                <a:spcAft>
                  <a:spcPct val="35000"/>
                </a:spcAft>
              </a:pPr>
              <a:r>
                <a:rPr lang="en-GB" sz="1200" b="1" kern="12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DI Water </a:t>
              </a:r>
              <a:r>
                <a:rPr lang="en-GB" sz="1200" b="1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S</a:t>
              </a:r>
              <a:r>
                <a:rPr lang="en-GB" sz="1200" b="1" kern="1200" dirty="0" smtClean="0">
                  <a:solidFill>
                    <a:schemeClr val="bg1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ystem</a:t>
              </a:r>
              <a:endParaRPr lang="en-US" sz="1200" b="1" kern="12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pic>
        <p:nvPicPr>
          <p:cNvPr id="138" name="Picture 137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 xmlns="">
                  <a14:imgLayer r:embed="rId9">
                    <a14:imgEffect>
                      <a14:backgroundRemoval t="6983" b="87430" l="25378" r="91541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9831" b="12727"/>
          <a:stretch/>
        </p:blipFill>
        <p:spPr>
          <a:xfrm rot="673504">
            <a:off x="1653196" y="4294018"/>
            <a:ext cx="1313261" cy="1361968"/>
          </a:xfrm>
          <a:prstGeom prst="rect">
            <a:avLst/>
          </a:prstGeom>
        </p:spPr>
      </p:pic>
      <p:sp>
        <p:nvSpPr>
          <p:cNvPr id="42" name="TextBox 1"/>
          <p:cNvSpPr txBox="1"/>
          <p:nvPr/>
        </p:nvSpPr>
        <p:spPr>
          <a:xfrm>
            <a:off x="982480" y="5342086"/>
            <a:ext cx="57428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b="1" dirty="0" smtClean="0">
                <a:solidFill>
                  <a:schemeClr val="tx1"/>
                </a:solidFill>
              </a:rPr>
              <a:t>72%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129" name="WordArt 4"/>
          <p:cNvSpPr>
            <a:spLocks noChangeArrowheads="1" noChangeShapeType="1" noTextEdit="1"/>
          </p:cNvSpPr>
          <p:nvPr/>
        </p:nvSpPr>
        <p:spPr bwMode="auto">
          <a:xfrm>
            <a:off x="3649410" y="5093204"/>
            <a:ext cx="5354847" cy="805542"/>
          </a:xfrm>
          <a:prstGeom prst="rect">
            <a:avLst/>
          </a:prstGeom>
          <a:scene3d>
            <a:camera prst="legacyPerspectiveFront">
              <a:rot lat="21119977" lon="1080000" rev="21599987"/>
            </a:camera>
            <a:lightRig rig="legacyHarsh2" dir="b"/>
          </a:scene3d>
          <a:sp3d>
            <a:bevelT/>
          </a:sp3d>
          <a:extLst>
            <a:ext uri="{AF507438-7753-43E0-B8FC-AC1667EBCBE1}">
              <a14:hiddenEffects xmlns:a14="http://schemas.microsoft.com/office/drawing/2010/main" xmlns="">
                <a:effectLst/>
              </a14:hiddenEffects>
            </a:ext>
          </a:extLst>
        </p:spPr>
        <p:txBody>
          <a:bodyPr wrap="none" fromWordArt="1">
            <a:prstTxWarp prst="textCascadeUp">
              <a:avLst>
                <a:gd name="adj" fmla="val 81268"/>
              </a:avLst>
            </a:prstTxWarp>
            <a:sp3d extrusionH="430200" prstMaterial="legacyMatte">
              <a:extrusionClr>
                <a:srgbClr val="FF6600"/>
              </a:extrusionClr>
            </a:sp3d>
          </a:bodyPr>
          <a:lstStyle/>
          <a:p>
            <a:pPr algn="ctr"/>
            <a:r>
              <a:rPr lang="en-US" sz="1800" kern="10" dirty="0" smtClean="0">
                <a:ln w="9525">
                  <a:round/>
                  <a:headEnd/>
                  <a:tailEnd/>
                </a:ln>
                <a:gradFill rotWithShape="0">
                  <a:gsLst>
                    <a:gs pos="0">
                      <a:srgbClr val="FFE701"/>
                    </a:gs>
                    <a:gs pos="100000">
                      <a:srgbClr val="FE3E02"/>
                    </a:gs>
                  </a:gsLst>
                  <a:lin ang="2700000" scaled="1"/>
                </a:gradFill>
                <a:latin typeface="Impact"/>
              </a:rPr>
              <a:t>Water Recovery Rate Around 86%</a:t>
            </a:r>
            <a:endParaRPr lang="en-US" sz="3200" kern="10" dirty="0">
              <a:ln w="9525">
                <a:round/>
                <a:headEnd/>
                <a:tailEnd/>
              </a:ln>
              <a:gradFill rotWithShape="0">
                <a:gsLst>
                  <a:gs pos="0">
                    <a:srgbClr val="FFE701"/>
                  </a:gs>
                  <a:gs pos="100000">
                    <a:srgbClr val="FE3E02"/>
                  </a:gs>
                </a:gsLst>
                <a:lin ang="2700000" scaled="1"/>
              </a:gradFill>
              <a:latin typeface="Impact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1497408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0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52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4" grpId="0" animBg="1"/>
      <p:bldP spid="134" grpId="0"/>
      <p:bldP spid="42" grpId="0"/>
      <p:bldP spid="12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4936"/>
          <a:stretch/>
        </p:blipFill>
        <p:spPr>
          <a:xfrm>
            <a:off x="819" y="4928794"/>
            <a:ext cx="9101414" cy="1939274"/>
          </a:xfrm>
          <a:prstGeom prst="rect">
            <a:avLst/>
          </a:prstGeom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91470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1" name="Group 10"/>
          <p:cNvGrpSpPr/>
          <p:nvPr/>
        </p:nvGrpSpPr>
        <p:grpSpPr>
          <a:xfrm>
            <a:off x="-5062" y="1102786"/>
            <a:ext cx="9144000" cy="457873"/>
            <a:chOff x="0" y="0"/>
            <a:chExt cx="9144000" cy="556968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2" name="Rectangle 11"/>
            <p:cNvSpPr/>
            <p:nvPr/>
          </p:nvSpPr>
          <p:spPr>
            <a:xfrm>
              <a:off x="0" y="0"/>
              <a:ext cx="9144000" cy="556968"/>
            </a:xfrm>
            <a:prstGeom prst="rect">
              <a:avLst/>
            </a:prstGeom>
            <a:sp3d prstMaterial="plastic">
              <a:bevelT w="127000" h="25400" prst="relaxedInset"/>
              <a:bevelB w="88900" h="121750" prst="angle"/>
            </a:sp3d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shade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shade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Rectangle 12"/>
            <p:cNvSpPr/>
            <p:nvPr/>
          </p:nvSpPr>
          <p:spPr>
            <a:xfrm>
              <a:off x="0" y="0"/>
              <a:ext cx="9144000" cy="457873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Aft>
                  <a:spcPct val="35000"/>
                </a:spcAft>
              </a:pPr>
              <a:r>
                <a:rPr lang="en-US" b="1" dirty="0"/>
                <a:t>Installation of </a:t>
              </a:r>
              <a:r>
                <a:rPr lang="en-US" b="1" dirty="0" smtClean="0"/>
                <a:t>Water </a:t>
              </a:r>
              <a:r>
                <a:rPr lang="en-US" b="1" dirty="0"/>
                <a:t>L</a:t>
              </a:r>
              <a:r>
                <a:rPr lang="en-US" b="1" dirty="0" smtClean="0"/>
                <a:t>eak </a:t>
              </a:r>
              <a:r>
                <a:rPr lang="en-US" b="1" dirty="0"/>
                <a:t>D</a:t>
              </a:r>
              <a:r>
                <a:rPr lang="en-US" b="1" dirty="0" smtClean="0"/>
                <a:t>etection </a:t>
              </a:r>
              <a:r>
                <a:rPr lang="en-US" b="1" dirty="0"/>
                <a:t>S</a:t>
              </a:r>
              <a:r>
                <a:rPr lang="en-US" b="1" dirty="0" smtClean="0"/>
                <a:t>ystem</a:t>
              </a:r>
              <a:endParaRPr lang="en-US" b="1" kern="1200" dirty="0"/>
            </a:p>
          </p:txBody>
        </p:sp>
      </p:grpSp>
      <p:sp>
        <p:nvSpPr>
          <p:cNvPr id="90" name="Rectangle 89"/>
          <p:cNvSpPr/>
          <p:nvPr/>
        </p:nvSpPr>
        <p:spPr>
          <a:xfrm>
            <a:off x="271765" y="5252100"/>
            <a:ext cx="859385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800" b="1" dirty="0"/>
              <a:t>Installed sophisticated </a:t>
            </a:r>
            <a:r>
              <a:rPr lang="en-US" sz="1800" b="1" dirty="0" smtClean="0"/>
              <a:t>Water </a:t>
            </a:r>
            <a:r>
              <a:rPr lang="en-US" sz="1800" b="1" dirty="0"/>
              <a:t>L</a:t>
            </a:r>
            <a:r>
              <a:rPr lang="en-US" sz="1800" b="1" dirty="0" smtClean="0"/>
              <a:t>eak </a:t>
            </a:r>
            <a:r>
              <a:rPr lang="en-US" sz="1800" b="1" dirty="0"/>
              <a:t>D</a:t>
            </a:r>
            <a:r>
              <a:rPr lang="en-US" sz="1800" b="1" dirty="0" smtClean="0"/>
              <a:t>etection </a:t>
            </a:r>
            <a:r>
              <a:rPr lang="en-US" sz="1800" b="1" dirty="0"/>
              <a:t>S</a:t>
            </a:r>
            <a:r>
              <a:rPr lang="en-US" sz="1800" b="1" dirty="0" smtClean="0"/>
              <a:t>ystem </a:t>
            </a:r>
            <a:r>
              <a:rPr lang="en-US" sz="1800" b="1" dirty="0"/>
              <a:t>at </a:t>
            </a:r>
            <a:r>
              <a:rPr lang="en-US" sz="1800" b="1" dirty="0" smtClean="0"/>
              <a:t>Wafer Fab &amp; Saber Clean Rooms to </a:t>
            </a:r>
            <a:r>
              <a:rPr lang="en-US" sz="1800" b="1" dirty="0"/>
              <a:t>detect any water leaks.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30340" y="1651407"/>
            <a:ext cx="1936075" cy="3538728"/>
            <a:chOff x="30340" y="1651407"/>
            <a:chExt cx="1936075" cy="3538728"/>
          </a:xfrm>
        </p:grpSpPr>
        <p:grpSp>
          <p:nvGrpSpPr>
            <p:cNvPr id="18" name="Group 17"/>
            <p:cNvGrpSpPr/>
            <p:nvPr/>
          </p:nvGrpSpPr>
          <p:grpSpPr>
            <a:xfrm>
              <a:off x="30340" y="1651407"/>
              <a:ext cx="1936075" cy="3538728"/>
              <a:chOff x="2070" y="7633"/>
              <a:chExt cx="2170001" cy="4560262"/>
            </a:xfrm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19" name="Rounded Rectangle 18"/>
              <p:cNvSpPr/>
              <p:nvPr/>
            </p:nvSpPr>
            <p:spPr>
              <a:xfrm>
                <a:off x="2070" y="7633"/>
                <a:ext cx="2170001" cy="4560262"/>
              </a:xfrm>
              <a:prstGeom prst="roundRect">
                <a:avLst>
                  <a:gd name="adj" fmla="val 10000"/>
                </a:avLst>
              </a:prstGeom>
              <a:sp3d prstMaterial="plastic">
                <a:bevelT w="127000" h="25400" prst="relaxedInset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1">
                  <a:alpha val="90000"/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1">
                  <a:alpha val="9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20" name="Rounded Rectangle 4"/>
              <p:cNvSpPr/>
              <p:nvPr/>
            </p:nvSpPr>
            <p:spPr>
              <a:xfrm>
                <a:off x="2070" y="1831738"/>
                <a:ext cx="2170001" cy="1824104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92456" tIns="92456" rIns="92456" bIns="92456" numCol="1" spcCol="1270" anchor="ctr" anchorCtr="0">
                <a:noAutofit/>
              </a:bodyPr>
              <a:lstStyle/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b="1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b="1" dirty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b="1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b="1" dirty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b="1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300" b="1" kern="1200" dirty="0" smtClean="0"/>
                  <a:t>Water leak detection sensor</a:t>
                </a:r>
                <a:endParaRPr lang="en-US" sz="1300" b="1" kern="1200" dirty="0"/>
              </a:p>
            </p:txBody>
          </p:sp>
        </p:grpSp>
        <p:sp>
          <p:nvSpPr>
            <p:cNvPr id="21" name="Flowchart: Alternate Process 20"/>
            <p:cNvSpPr/>
            <p:nvPr/>
          </p:nvSpPr>
          <p:spPr>
            <a:xfrm>
              <a:off x="127279" y="1818012"/>
              <a:ext cx="1732806" cy="2463598"/>
            </a:xfrm>
            <a:prstGeom prst="flowChartAlternateProcess">
              <a:avLst/>
            </a:prstGeom>
            <a:blipFill>
              <a:blip r:embed="rId5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 l="-14000" r="-14000"/>
              </a:stretch>
            </a:blipFill>
            <a:scene3d>
              <a:camera prst="orthographicFront"/>
              <a:lightRig rig="threePt" dir="t">
                <a:rot lat="0" lon="0" rev="7500000"/>
              </a:lightRig>
            </a:scene3d>
            <a:sp3d z="152400" extrusionH="63500" prstMaterial="matte">
              <a:bevelT w="50800" h="19050" prst="relaxedInset"/>
              <a:contourClr>
                <a:schemeClr val="bg1"/>
              </a:contourClr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5" name="Group 4"/>
          <p:cNvGrpSpPr/>
          <p:nvPr/>
        </p:nvGrpSpPr>
        <p:grpSpPr>
          <a:xfrm>
            <a:off x="2385441" y="1643235"/>
            <a:ext cx="2279324" cy="3538728"/>
            <a:chOff x="2398693" y="1643235"/>
            <a:chExt cx="2170001" cy="3538728"/>
          </a:xfrm>
        </p:grpSpPr>
        <p:grpSp>
          <p:nvGrpSpPr>
            <p:cNvPr id="22" name="Group 21"/>
            <p:cNvGrpSpPr/>
            <p:nvPr/>
          </p:nvGrpSpPr>
          <p:grpSpPr>
            <a:xfrm>
              <a:off x="2398693" y="1643235"/>
              <a:ext cx="2170001" cy="3538728"/>
              <a:chOff x="2269352" y="0"/>
              <a:chExt cx="2170001" cy="4560262"/>
            </a:xfrm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23" name="Rounded Rectangle 22"/>
              <p:cNvSpPr/>
              <p:nvPr/>
            </p:nvSpPr>
            <p:spPr>
              <a:xfrm>
                <a:off x="2269352" y="0"/>
                <a:ext cx="1938528" cy="4560262"/>
              </a:xfrm>
              <a:prstGeom prst="roundRect">
                <a:avLst>
                  <a:gd name="adj" fmla="val 10000"/>
                </a:avLst>
              </a:prstGeom>
              <a:sp3d prstMaterial="plastic">
                <a:bevelT w="127000" h="25400" prst="relaxedInset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1">
                  <a:alpha val="90000"/>
                  <a:hueOff val="0"/>
                  <a:satOff val="0"/>
                  <a:lumOff val="0"/>
                  <a:alphaOff val="-13333"/>
                </a:schemeClr>
              </a:fillRef>
              <a:effectRef idx="2">
                <a:schemeClr val="accent1">
                  <a:alpha val="90000"/>
                  <a:hueOff val="0"/>
                  <a:satOff val="0"/>
                  <a:lumOff val="0"/>
                  <a:alphaOff val="-13333"/>
                </a:schemeClr>
              </a:effectRef>
              <a:fontRef idx="minor">
                <a:schemeClr val="lt1"/>
              </a:fontRef>
            </p:style>
          </p:sp>
          <p:sp>
            <p:nvSpPr>
              <p:cNvPr id="24" name="Rounded Rectangle 4"/>
              <p:cNvSpPr/>
              <p:nvPr/>
            </p:nvSpPr>
            <p:spPr>
              <a:xfrm>
                <a:off x="2269352" y="1824104"/>
                <a:ext cx="2170001" cy="1824104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92456" tIns="92456" rIns="92456" bIns="92456" numCol="1" spcCol="1270" anchor="ctr" anchorCtr="0">
                <a:noAutofit/>
              </a:bodyPr>
              <a:lstStyle/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b="1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b="1" dirty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b="1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b="1" dirty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300" b="1" kern="1200" dirty="0" smtClean="0"/>
                  <a:t>Centre Control Panel</a:t>
                </a:r>
                <a:endParaRPr lang="en-US" sz="1300" b="1" kern="1200" dirty="0"/>
              </a:p>
            </p:txBody>
          </p:sp>
        </p:grpSp>
        <p:sp>
          <p:nvSpPr>
            <p:cNvPr id="26" name="Flowchart: Alternate Process 25"/>
            <p:cNvSpPr/>
            <p:nvPr/>
          </p:nvSpPr>
          <p:spPr>
            <a:xfrm>
              <a:off x="2487568" y="1768427"/>
              <a:ext cx="1760778" cy="2513183"/>
            </a:xfrm>
            <a:prstGeom prst="flowChartAlternateProcess">
              <a:avLst/>
            </a:prstGeom>
            <a:blipFill dpi="0" rotWithShape="1">
              <a:blip r:embed="rId6" cstate="print"/>
              <a:srcRect/>
              <a:stretch>
                <a:fillRect/>
              </a:stretch>
            </a:blipFill>
            <a:scene3d>
              <a:camera prst="orthographicFront"/>
              <a:lightRig rig="threePt" dir="t">
                <a:rot lat="0" lon="0" rev="7500000"/>
              </a:lightRig>
            </a:scene3d>
            <a:sp3d z="152400" extrusionH="63500" prstMaterial="matte">
              <a:bevelT w="50800" h="19050" prst="relaxedInset"/>
              <a:contourClr>
                <a:schemeClr val="bg1"/>
              </a:contourClr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alpha val="90000"/>
                <a:hueOff val="16631"/>
                <a:satOff val="-1038"/>
                <a:lumOff val="4072"/>
                <a:alphaOff val="-13333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6" name="Group 5"/>
          <p:cNvGrpSpPr/>
          <p:nvPr/>
        </p:nvGrpSpPr>
        <p:grpSpPr>
          <a:xfrm>
            <a:off x="4801052" y="1671710"/>
            <a:ext cx="1938528" cy="3538728"/>
            <a:chOff x="4801052" y="1671710"/>
            <a:chExt cx="1938528" cy="3538728"/>
          </a:xfrm>
        </p:grpSpPr>
        <p:grpSp>
          <p:nvGrpSpPr>
            <p:cNvPr id="27" name="Group 26"/>
            <p:cNvGrpSpPr/>
            <p:nvPr/>
          </p:nvGrpSpPr>
          <p:grpSpPr>
            <a:xfrm>
              <a:off x="4801052" y="1671710"/>
              <a:ext cx="1938528" cy="3538728"/>
              <a:chOff x="4472273" y="78"/>
              <a:chExt cx="2170001" cy="4560262"/>
            </a:xfrm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28" name="Rounded Rectangle 27"/>
              <p:cNvSpPr/>
              <p:nvPr/>
            </p:nvSpPr>
            <p:spPr>
              <a:xfrm>
                <a:off x="4472273" y="78"/>
                <a:ext cx="2170001" cy="4560262"/>
              </a:xfrm>
              <a:prstGeom prst="roundRect">
                <a:avLst>
                  <a:gd name="adj" fmla="val 10000"/>
                </a:avLst>
              </a:prstGeom>
              <a:sp3d prstMaterial="plastic">
                <a:bevelT w="127000" h="25400" prst="relaxedInset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1">
                  <a:alpha val="90000"/>
                  <a:hueOff val="0"/>
                  <a:satOff val="0"/>
                  <a:lumOff val="0"/>
                  <a:alphaOff val="-26667"/>
                </a:schemeClr>
              </a:fillRef>
              <a:effectRef idx="2">
                <a:schemeClr val="accent1">
                  <a:alpha val="90000"/>
                  <a:hueOff val="0"/>
                  <a:satOff val="0"/>
                  <a:lumOff val="0"/>
                  <a:alphaOff val="-26667"/>
                </a:schemeClr>
              </a:effectRef>
              <a:fontRef idx="minor">
                <a:schemeClr val="lt1"/>
              </a:fontRef>
            </p:style>
          </p:sp>
          <p:sp>
            <p:nvSpPr>
              <p:cNvPr id="29" name="Rounded Rectangle 4"/>
              <p:cNvSpPr/>
              <p:nvPr/>
            </p:nvSpPr>
            <p:spPr>
              <a:xfrm>
                <a:off x="4472273" y="1824182"/>
                <a:ext cx="2170001" cy="1824104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92456" tIns="92456" rIns="92456" bIns="92456" numCol="1" spcCol="1270" anchor="ctr" anchorCtr="0">
                <a:noAutofit/>
              </a:bodyPr>
              <a:lstStyle/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b="1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b="1" dirty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b="1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b="1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300" b="1" kern="1200" dirty="0" smtClean="0"/>
                  <a:t>Monitor through </a:t>
                </a:r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300" b="1" kern="1200" dirty="0" smtClean="0"/>
                  <a:t>Building Management System</a:t>
                </a:r>
                <a:endParaRPr lang="en-US" sz="1300" b="1" kern="1200" dirty="0"/>
              </a:p>
            </p:txBody>
          </p:sp>
        </p:grpSp>
        <p:sp>
          <p:nvSpPr>
            <p:cNvPr id="30" name="Flowchart: Alternate Process 29"/>
            <p:cNvSpPr/>
            <p:nvPr/>
          </p:nvSpPr>
          <p:spPr>
            <a:xfrm>
              <a:off x="4886047" y="1756003"/>
              <a:ext cx="1768538" cy="2538030"/>
            </a:xfrm>
            <a:prstGeom prst="flowChartAlternateProcess">
              <a:avLst/>
            </a:prstGeom>
            <a:blipFill>
              <a:blip r:embed="rId7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 t="-8000" b="-8000"/>
              </a:stretch>
            </a:blipFill>
            <a:scene3d>
              <a:camera prst="orthographicFront"/>
              <a:lightRig rig="threePt" dir="t">
                <a:rot lat="0" lon="0" rev="7500000"/>
              </a:lightRig>
            </a:scene3d>
            <a:sp3d z="152400" extrusionH="63500" prstMaterial="matte">
              <a:bevelT w="50800" h="19050" prst="relaxedInset"/>
              <a:contourClr>
                <a:schemeClr val="bg1"/>
              </a:contourClr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alpha val="90000"/>
                <a:hueOff val="33262"/>
                <a:satOff val="-2076"/>
                <a:lumOff val="8145"/>
                <a:alphaOff val="-26667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7" name="Group 6"/>
          <p:cNvGrpSpPr/>
          <p:nvPr/>
        </p:nvGrpSpPr>
        <p:grpSpPr>
          <a:xfrm>
            <a:off x="6909493" y="1651407"/>
            <a:ext cx="2161814" cy="3542256"/>
            <a:chOff x="6909493" y="1651407"/>
            <a:chExt cx="2161814" cy="3542256"/>
          </a:xfrm>
        </p:grpSpPr>
        <p:grpSp>
          <p:nvGrpSpPr>
            <p:cNvPr id="31" name="Group 30"/>
            <p:cNvGrpSpPr/>
            <p:nvPr/>
          </p:nvGrpSpPr>
          <p:grpSpPr>
            <a:xfrm>
              <a:off x="6909493" y="1651407"/>
              <a:ext cx="2161814" cy="3542256"/>
              <a:chOff x="6709435" y="16946"/>
              <a:chExt cx="2419957" cy="4560262"/>
            </a:xfrm>
            <a:scene3d>
              <a:camera prst="orthographicFront"/>
              <a:lightRig rig="threePt" dir="t">
                <a:rot lat="0" lon="0" rev="7500000"/>
              </a:lightRig>
            </a:scene3d>
          </p:grpSpPr>
          <p:sp>
            <p:nvSpPr>
              <p:cNvPr id="32" name="Rounded Rectangle 31"/>
              <p:cNvSpPr/>
              <p:nvPr/>
            </p:nvSpPr>
            <p:spPr>
              <a:xfrm>
                <a:off x="6959391" y="16946"/>
                <a:ext cx="2170001" cy="4560262"/>
              </a:xfrm>
              <a:prstGeom prst="roundRect">
                <a:avLst>
                  <a:gd name="adj" fmla="val 10000"/>
                </a:avLst>
              </a:prstGeom>
              <a:sp3d prstMaterial="plastic">
                <a:bevelT w="127000" h="25400" prst="relaxedInset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1">
                  <a:alpha val="90000"/>
                  <a:hueOff val="0"/>
                  <a:satOff val="0"/>
                  <a:lumOff val="0"/>
                  <a:alphaOff val="-40000"/>
                </a:schemeClr>
              </a:fillRef>
              <a:effectRef idx="2">
                <a:schemeClr val="accent1">
                  <a:alpha val="90000"/>
                  <a:hueOff val="0"/>
                  <a:satOff val="0"/>
                  <a:lumOff val="0"/>
                  <a:alphaOff val="-4000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3" name="Rounded Rectangle 4"/>
              <p:cNvSpPr/>
              <p:nvPr/>
            </p:nvSpPr>
            <p:spPr>
              <a:xfrm>
                <a:off x="6709435" y="1841051"/>
                <a:ext cx="2170001" cy="1824104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92456" tIns="92456" rIns="92456" bIns="92456" numCol="1" spcCol="1270" anchor="ctr" anchorCtr="0">
                <a:noAutofit/>
              </a:bodyPr>
              <a:lstStyle/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b="1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b="1" dirty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b="1" kern="1200" dirty="0" smtClean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endParaRPr lang="en-US" sz="1300" b="1" dirty="0"/>
              </a:p>
              <a:p>
                <a:pPr lvl="0" algn="ctr" defTabSz="5778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300" b="1" dirty="0"/>
                  <a:t> </a:t>
                </a:r>
                <a:r>
                  <a:rPr lang="en-US" sz="1300" b="1" dirty="0" smtClean="0"/>
                  <a:t>            </a:t>
                </a:r>
                <a:r>
                  <a:rPr lang="en-US" sz="1300" b="1" kern="1200" dirty="0" smtClean="0"/>
                  <a:t>Alarm via SMS</a:t>
                </a:r>
                <a:endParaRPr lang="en-US" sz="1300" b="1" kern="1200" dirty="0"/>
              </a:p>
            </p:txBody>
          </p:sp>
        </p:grpSp>
        <p:sp>
          <p:nvSpPr>
            <p:cNvPr id="34" name="Flowchart: Alternate Process 33"/>
            <p:cNvSpPr/>
            <p:nvPr/>
          </p:nvSpPr>
          <p:spPr>
            <a:xfrm>
              <a:off x="7388747" y="1756606"/>
              <a:ext cx="1518567" cy="2537428"/>
            </a:xfrm>
            <a:prstGeom prst="flowChartAlternateProcess">
              <a:avLst/>
            </a:prstGeom>
            <a:blipFill dpi="0" rotWithShape="1">
              <a:blip r:embed="rId8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 t="1744"/>
              </a:stretch>
            </a:blipFill>
            <a:scene3d>
              <a:camera prst="orthographicFront"/>
              <a:lightRig rig="threePt" dir="t">
                <a:rot lat="0" lon="0" rev="7500000"/>
              </a:lightRig>
            </a:scene3d>
            <a:sp3d z="152400" extrusionH="63500" prstMaterial="matte">
              <a:bevelT w="50800" h="19050" prst="relaxedInset"/>
              <a:contourClr>
                <a:schemeClr val="bg1"/>
              </a:contourClr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alpha val="90000"/>
                <a:hueOff val="49893"/>
                <a:satOff val="-3114"/>
                <a:lumOff val="12217"/>
                <a:alphaOff val="-4000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35" name="Flowchart: Extract 34"/>
          <p:cNvSpPr/>
          <p:nvPr/>
        </p:nvSpPr>
        <p:spPr>
          <a:xfrm rot="5400000">
            <a:off x="2001877" y="3052988"/>
            <a:ext cx="374528" cy="318588"/>
          </a:xfrm>
          <a:prstGeom prst="flowChartExtract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6" name="Flowchart: Extract 35"/>
          <p:cNvSpPr/>
          <p:nvPr/>
        </p:nvSpPr>
        <p:spPr>
          <a:xfrm rot="5400000">
            <a:off x="4409931" y="3077434"/>
            <a:ext cx="374528" cy="318588"/>
          </a:xfrm>
          <a:prstGeom prst="flowChartExtract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7" name="Flowchart: Extract 36"/>
          <p:cNvSpPr/>
          <p:nvPr/>
        </p:nvSpPr>
        <p:spPr>
          <a:xfrm rot="5400000">
            <a:off x="6771376" y="3080972"/>
            <a:ext cx="374528" cy="318588"/>
          </a:xfrm>
          <a:prstGeom prst="flowChartExtract">
            <a:avLst/>
          </a:prstGeom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40" name="Title 1"/>
          <p:cNvSpPr txBox="1">
            <a:spLocks/>
          </p:cNvSpPr>
          <p:nvPr/>
        </p:nvSpPr>
        <p:spPr>
          <a:xfrm>
            <a:off x="901548" y="382930"/>
            <a:ext cx="5158058" cy="41717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US" dirty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Project Implementation </a:t>
            </a:r>
            <a:r>
              <a:rPr lang="en-US" dirty="0" smtClean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-3 </a:t>
            </a:r>
            <a:r>
              <a:rPr lang="en-US" dirty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of </a:t>
            </a:r>
            <a:r>
              <a:rPr lang="en-US" dirty="0" smtClean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6</a:t>
            </a:r>
            <a:endParaRPr lang="en-US" dirty="0">
              <a:solidFill>
                <a:srgbClr val="2875CA"/>
              </a:solidFill>
              <a:latin typeface="Britannic Bold" pitchFamily="34" charset="0"/>
              <a:ea typeface="+mj-ea"/>
              <a:cs typeface="+mj-cs"/>
            </a:endParaRPr>
          </a:p>
        </p:txBody>
      </p:sp>
      <p:grpSp>
        <p:nvGrpSpPr>
          <p:cNvPr id="44" name="Group 43"/>
          <p:cNvGrpSpPr/>
          <p:nvPr/>
        </p:nvGrpSpPr>
        <p:grpSpPr>
          <a:xfrm rot="264182">
            <a:off x="86596" y="91470"/>
            <a:ext cx="777240" cy="777240"/>
            <a:chOff x="3728638" y="1092389"/>
            <a:chExt cx="914400" cy="914400"/>
          </a:xfrm>
        </p:grpSpPr>
        <p:grpSp>
          <p:nvGrpSpPr>
            <p:cNvPr id="45" name="Group 44"/>
            <p:cNvGrpSpPr/>
            <p:nvPr/>
          </p:nvGrpSpPr>
          <p:grpSpPr>
            <a:xfrm>
              <a:off x="3728638" y="1092389"/>
              <a:ext cx="914400" cy="914400"/>
              <a:chOff x="2378075" y="502896"/>
              <a:chExt cx="2066925" cy="2066925"/>
            </a:xfrm>
          </p:grpSpPr>
          <p:grpSp>
            <p:nvGrpSpPr>
              <p:cNvPr id="47" name="Group 28"/>
              <p:cNvGrpSpPr>
                <a:grpSpLocks/>
              </p:cNvGrpSpPr>
              <p:nvPr/>
            </p:nvGrpSpPr>
            <p:grpSpPr bwMode="auto">
              <a:xfrm>
                <a:off x="2378075" y="502896"/>
                <a:ext cx="2066925" cy="2066925"/>
                <a:chOff x="2333625" y="219075"/>
                <a:chExt cx="2066236" cy="2066236"/>
              </a:xfrm>
            </p:grpSpPr>
            <p:grpSp>
              <p:nvGrpSpPr>
                <p:cNvPr id="53" name="Group 154"/>
                <p:cNvGrpSpPr>
                  <a:grpSpLocks/>
                </p:cNvGrpSpPr>
                <p:nvPr/>
              </p:nvGrpSpPr>
              <p:grpSpPr bwMode="auto">
                <a:xfrm>
                  <a:off x="2333625" y="219075"/>
                  <a:ext cx="2066236" cy="2066236"/>
                  <a:chOff x="2844111" y="1118742"/>
                  <a:chExt cx="3508375" cy="3508375"/>
                </a:xfrm>
              </p:grpSpPr>
              <p:sp>
                <p:nvSpPr>
                  <p:cNvPr id="55" name="Freeform 6"/>
                  <p:cNvSpPr>
                    <a:spLocks noEditPoints="1"/>
                  </p:cNvSpPr>
                  <p:nvPr>
                    <p:custDataLst>
                      <p:tags r:id="rId1"/>
                    </p:custDataLst>
                  </p:nvPr>
                </p:nvSpPr>
                <p:spPr bwMode="gray">
                  <a:xfrm rot="3600000">
                    <a:off x="2844111" y="1118742"/>
                    <a:ext cx="3508375" cy="3508375"/>
                  </a:xfrm>
                  <a:custGeom>
                    <a:avLst/>
                    <a:gdLst/>
                    <a:ahLst/>
                    <a:cxnLst>
                      <a:cxn ang="0">
                        <a:pos x="292" y="0"/>
                      </a:cxn>
                      <a:cxn ang="0">
                        <a:pos x="0" y="293"/>
                      </a:cxn>
                      <a:cxn ang="0">
                        <a:pos x="292" y="585"/>
                      </a:cxn>
                      <a:cxn ang="0">
                        <a:pos x="585" y="293"/>
                      </a:cxn>
                      <a:cxn ang="0">
                        <a:pos x="292" y="0"/>
                      </a:cxn>
                      <a:cxn ang="0">
                        <a:pos x="292" y="539"/>
                      </a:cxn>
                      <a:cxn ang="0">
                        <a:pos x="46" y="293"/>
                      </a:cxn>
                      <a:cxn ang="0">
                        <a:pos x="292" y="46"/>
                      </a:cxn>
                      <a:cxn ang="0">
                        <a:pos x="539" y="293"/>
                      </a:cxn>
                      <a:cxn ang="0">
                        <a:pos x="292" y="539"/>
                      </a:cxn>
                    </a:cxnLst>
                    <a:rect l="0" t="0" r="r" b="b"/>
                    <a:pathLst>
                      <a:path w="585" h="585">
                        <a:moveTo>
                          <a:pt x="292" y="0"/>
                        </a:moveTo>
                        <a:cubicBezTo>
                          <a:pt x="131" y="0"/>
                          <a:pt x="0" y="131"/>
                          <a:pt x="0" y="293"/>
                        </a:cubicBezTo>
                        <a:cubicBezTo>
                          <a:pt x="0" y="454"/>
                          <a:pt x="131" y="585"/>
                          <a:pt x="292" y="585"/>
                        </a:cubicBezTo>
                        <a:cubicBezTo>
                          <a:pt x="454" y="585"/>
                          <a:pt x="585" y="454"/>
                          <a:pt x="585" y="293"/>
                        </a:cubicBezTo>
                        <a:cubicBezTo>
                          <a:pt x="585" y="131"/>
                          <a:pt x="454" y="0"/>
                          <a:pt x="292" y="0"/>
                        </a:cubicBezTo>
                        <a:close/>
                        <a:moveTo>
                          <a:pt x="292" y="539"/>
                        </a:moveTo>
                        <a:cubicBezTo>
                          <a:pt x="156" y="539"/>
                          <a:pt x="46" y="429"/>
                          <a:pt x="46" y="293"/>
                        </a:cubicBezTo>
                        <a:cubicBezTo>
                          <a:pt x="46" y="156"/>
                          <a:pt x="156" y="46"/>
                          <a:pt x="292" y="46"/>
                        </a:cubicBezTo>
                        <a:cubicBezTo>
                          <a:pt x="429" y="46"/>
                          <a:pt x="539" y="156"/>
                          <a:pt x="539" y="293"/>
                        </a:cubicBezTo>
                        <a:cubicBezTo>
                          <a:pt x="539" y="429"/>
                          <a:pt x="429" y="539"/>
                          <a:pt x="292" y="539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4"/>
                  </a:lnRef>
                  <a:fillRef idx="3">
                    <a:schemeClr val="accent4"/>
                  </a:fillRef>
                  <a:effectRef idx="3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sz="900"/>
                  </a:p>
                </p:txBody>
              </p:sp>
              <p:sp>
                <p:nvSpPr>
                  <p:cNvPr id="56" name="Ellipse 12"/>
                  <p:cNvSpPr>
                    <a:spLocks noChangeArrowheads="1"/>
                  </p:cNvSpPr>
                  <p:nvPr/>
                </p:nvSpPr>
                <p:spPr bwMode="auto">
                  <a:xfrm>
                    <a:off x="3948899" y="2247780"/>
                    <a:ext cx="1279938" cy="127993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353637"/>
                      </a:gs>
                      <a:gs pos="100000">
                        <a:srgbClr val="151616"/>
                      </a:gs>
                    </a:gsLst>
                    <a:path path="shape">
                      <a:fillToRect l="50000" t="50000" r="50000" b="50000"/>
                    </a:path>
                  </a:gradFill>
                  <a:ln w="9525">
                    <a:solidFill>
                      <a:srgbClr val="191919"/>
                    </a:solidFill>
                    <a:round/>
                    <a:headEnd/>
                    <a:tailEnd/>
                  </a:ln>
                  <a:effectLst>
                    <a:outerShdw dist="23000" dir="5400000" rotWithShape="0">
                      <a:srgbClr val="808080">
                        <a:alpha val="34999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latin typeface="Calibri" charset="0"/>
                    </a:endParaRPr>
                  </a:p>
                </p:txBody>
              </p:sp>
              <p:sp>
                <p:nvSpPr>
                  <p:cNvPr id="57" name="Ellipse 13"/>
                  <p:cNvSpPr/>
                  <p:nvPr/>
                </p:nvSpPr>
                <p:spPr bwMode="auto">
                  <a:xfrm>
                    <a:off x="4118660" y="2304368"/>
                    <a:ext cx="940416" cy="692512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tx2">
                          <a:lumMod val="40000"/>
                          <a:lumOff val="60000"/>
                          <a:alpha val="0"/>
                        </a:schemeClr>
                      </a:gs>
                      <a:gs pos="100000">
                        <a:schemeClr val="bg1">
                          <a:alpha val="77000"/>
                        </a:schemeClr>
                      </a:gs>
                    </a:gsLst>
                    <a:lin ang="162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ea typeface="ＭＳ Ｐゴシック" charset="-128"/>
                    </a:endParaRPr>
                  </a:p>
                </p:txBody>
              </p:sp>
              <p:sp>
                <p:nvSpPr>
                  <p:cNvPr id="58" name="Block Arc 57"/>
                  <p:cNvSpPr/>
                  <p:nvPr/>
                </p:nvSpPr>
                <p:spPr>
                  <a:xfrm rot="18729919">
                    <a:off x="3230788" y="1508111"/>
                    <a:ext cx="2726940" cy="2729633"/>
                  </a:xfrm>
                  <a:prstGeom prst="blockArc">
                    <a:avLst>
                      <a:gd name="adj1" fmla="val 574634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900"/>
                  </a:p>
                </p:txBody>
              </p:sp>
              <p:sp>
                <p:nvSpPr>
                  <p:cNvPr id="59" name="Block Arc 58"/>
                  <p:cNvSpPr/>
                  <p:nvPr/>
                </p:nvSpPr>
                <p:spPr>
                  <a:xfrm rot="1352524">
                    <a:off x="3229440" y="1509459"/>
                    <a:ext cx="2729633" cy="2726940"/>
                  </a:xfrm>
                  <a:prstGeom prst="blockArc">
                    <a:avLst>
                      <a:gd name="adj1" fmla="val 596470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60" name="Block Arc 59"/>
                  <p:cNvSpPr/>
                  <p:nvPr/>
                </p:nvSpPr>
                <p:spPr>
                  <a:xfrm rot="5869595">
                    <a:off x="3230788" y="1508111"/>
                    <a:ext cx="2726940" cy="2729633"/>
                  </a:xfrm>
                  <a:prstGeom prst="blockArc">
                    <a:avLst>
                      <a:gd name="adj1" fmla="val 5627424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61" name="Block Arc 60"/>
                  <p:cNvSpPr/>
                  <p:nvPr/>
                </p:nvSpPr>
                <p:spPr>
                  <a:xfrm rot="10291675">
                    <a:off x="3229440" y="1509459"/>
                    <a:ext cx="2729633" cy="2726940"/>
                  </a:xfrm>
                  <a:prstGeom prst="blockArc">
                    <a:avLst>
                      <a:gd name="adj1" fmla="val 5803831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62" name="Block Arc 61"/>
                  <p:cNvSpPr/>
                  <p:nvPr/>
                </p:nvSpPr>
                <p:spPr>
                  <a:xfrm rot="14301489">
                    <a:off x="3230788" y="1508111"/>
                    <a:ext cx="2726940" cy="2729633"/>
                  </a:xfrm>
                  <a:prstGeom prst="blockArc">
                    <a:avLst>
                      <a:gd name="adj1" fmla="val 6140645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</p:grpSp>
            <p:sp>
              <p:nvSpPr>
                <p:cNvPr id="54" name="Ellipse 15"/>
                <p:cNvSpPr/>
                <p:nvPr/>
              </p:nvSpPr>
              <p:spPr bwMode="auto">
                <a:xfrm>
                  <a:off x="2763695" y="465055"/>
                  <a:ext cx="1237837" cy="91568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900" dirty="0"/>
                </a:p>
              </p:txBody>
            </p:sp>
          </p:grpSp>
          <p:sp>
            <p:nvSpPr>
              <p:cNvPr id="48" name="TextBox 29"/>
              <p:cNvSpPr txBox="1">
                <a:spLocks noChangeArrowheads="1"/>
              </p:cNvSpPr>
              <p:nvPr/>
            </p:nvSpPr>
            <p:spPr bwMode="auto">
              <a:xfrm>
                <a:off x="2754110" y="771753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D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49" name="TextBox 29"/>
              <p:cNvSpPr txBox="1">
                <a:spLocks noChangeArrowheads="1"/>
              </p:cNvSpPr>
              <p:nvPr/>
            </p:nvSpPr>
            <p:spPr bwMode="auto">
              <a:xfrm>
                <a:off x="2584640" y="1514847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M</a:t>
                </a:r>
              </a:p>
            </p:txBody>
          </p:sp>
          <p:sp>
            <p:nvSpPr>
              <p:cNvPr id="50" name="TextBox 29"/>
              <p:cNvSpPr txBox="1">
                <a:spLocks noChangeArrowheads="1"/>
              </p:cNvSpPr>
              <p:nvPr/>
            </p:nvSpPr>
            <p:spPr bwMode="auto">
              <a:xfrm>
                <a:off x="3253164" y="1880209"/>
                <a:ext cx="289718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A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51" name="TextBox 29"/>
              <p:cNvSpPr txBox="1">
                <a:spLocks noChangeArrowheads="1"/>
              </p:cNvSpPr>
              <p:nvPr/>
            </p:nvSpPr>
            <p:spPr bwMode="auto">
              <a:xfrm>
                <a:off x="3844923" y="13567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I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52" name="TextBox 29"/>
              <p:cNvSpPr txBox="1">
                <a:spLocks noChangeArrowheads="1"/>
              </p:cNvSpPr>
              <p:nvPr/>
            </p:nvSpPr>
            <p:spPr bwMode="auto">
              <a:xfrm>
                <a:off x="3487620" y="7158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C</a:t>
                </a:r>
              </a:p>
            </p:txBody>
          </p:sp>
        </p:grpSp>
        <p:sp>
          <p:nvSpPr>
            <p:cNvPr id="46" name="TextBox 29"/>
            <p:cNvSpPr txBox="1">
              <a:spLocks noChangeArrowheads="1"/>
            </p:cNvSpPr>
            <p:nvPr/>
          </p:nvSpPr>
          <p:spPr bwMode="auto">
            <a:xfrm rot="21335818">
              <a:off x="4093795" y="1350066"/>
              <a:ext cx="128171" cy="398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da-DK" sz="1600" b="1" dirty="0" smtClean="0">
                  <a:solidFill>
                    <a:schemeClr val="bg1"/>
                  </a:solidFill>
                </a:rPr>
                <a:t>I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6506053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2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25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000"/>
                            </p:stCondLst>
                            <p:childTnLst>
                              <p:par>
                                <p:cTn id="33" presetID="43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2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2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+0.3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300" decel="500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1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2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2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3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3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4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4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50000">
                                          <p:val>
                                            <p:strVal val="#ppt_x+0.1550"/>
                                          </p:val>
                                        </p:tav>
                                        <p:tav tm="55000">
                                          <p:val>
                                            <p:strVal val="#ppt_x+0.1531"/>
                                          </p:val>
                                        </p:tav>
                                        <p:tav tm="60000">
                                          <p:val>
                                            <p:strVal val="#ppt_x+0.1474"/>
                                          </p:val>
                                        </p:tav>
                                        <p:tav tm="65000">
                                          <p:val>
                                            <p:strVal val="#ppt_x+0.1381"/>
                                          </p:val>
                                        </p:tav>
                                        <p:tav tm="70000">
                                          <p:val>
                                            <p:strVal val="#ppt_x+0.1254"/>
                                          </p:val>
                                        </p:tav>
                                        <p:tav tm="75000">
                                          <p:val>
                                            <p:strVal val="#ppt_x+0.1096"/>
                                          </p:val>
                                        </p:tav>
                                        <p:tav tm="80000">
                                          <p:val>
                                            <p:strVal val="#ppt_x+0.0911"/>
                                          </p:val>
                                        </p:tav>
                                        <p:tav tm="85000">
                                          <p:val>
                                            <p:strVal val="#ppt_x+0.0704"/>
                                          </p:val>
                                        </p:tav>
                                        <p:tav tm="90000">
                                          <p:val>
                                            <p:strVal val="#ppt_x+0.0479"/>
                                          </p:val>
                                        </p:tav>
                                        <p:tav tm="95000">
                                          <p:val>
                                            <p:strVal val="#ppt_x+0.024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300" decel="50000" fill="hold">
                                          <p:stCondLst>
                                            <p:cond delay="20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0.31"/>
                                          </p:val>
                                        </p:tav>
                                        <p:tav tm="5000">
                                          <p:val>
                                            <p:strVal val="#ppt_y+0.308"/>
                                          </p:val>
                                        </p:tav>
                                        <p:tav tm="10000">
                                          <p:val>
                                            <p:strVal val="#ppt_y+0.3024"/>
                                          </p:val>
                                        </p:tav>
                                        <p:tav tm="15000">
                                          <p:val>
                                            <p:strVal val="#ppt_y+0.2931"/>
                                          </p:val>
                                        </p:tav>
                                        <p:tav tm="20000">
                                          <p:val>
                                            <p:strVal val="#ppt_y+0.2804"/>
                                          </p:val>
                                        </p:tav>
                                        <p:tav tm="25000">
                                          <p:val>
                                            <p:strVal val="#ppt_y+0.2646"/>
                                          </p:val>
                                        </p:tav>
                                        <p:tav tm="30000">
                                          <p:val>
                                            <p:strVal val="#ppt_y+0.2461"/>
                                          </p:val>
                                        </p:tav>
                                        <p:tav tm="35000">
                                          <p:val>
                                            <p:strVal val="#ppt_y+0.2253"/>
                                          </p:val>
                                        </p:tav>
                                        <p:tav tm="40000">
                                          <p:val>
                                            <p:strVal val="#ppt_y+0.2029"/>
                                          </p:val>
                                        </p:tav>
                                        <p:tav tm="45000">
                                          <p:val>
                                            <p:strVal val="#ppt_y+0.1792"/>
                                          </p:val>
                                        </p:tav>
                                        <p:tav tm="50000">
                                          <p:val>
                                            <p:strVal val="#ppt_y+0.155"/>
                                          </p:val>
                                        </p:tav>
                                        <p:tav tm="55000">
                                          <p:val>
                                            <p:strVal val="#ppt_y+0.1307"/>
                                          </p:val>
                                        </p:tav>
                                        <p:tav tm="60000">
                                          <p:val>
                                            <p:strVal val="#ppt_y+0.1071"/>
                                          </p:val>
                                        </p:tav>
                                        <p:tav tm="65000">
                                          <p:val>
                                            <p:strVal val="#ppt_y+0.0846"/>
                                          </p:val>
                                        </p:tav>
                                        <p:tav tm="70000">
                                          <p:val>
                                            <p:strVal val="#ppt_y+0.0639"/>
                                          </p:val>
                                        </p:tav>
                                        <p:tav tm="75000">
                                          <p:val>
                                            <p:strVal val="#ppt_y+0.0454"/>
                                          </p:val>
                                        </p:tav>
                                        <p:tav tm="80000">
                                          <p:val>
                                            <p:strVal val="#ppt_y+0.0296"/>
                                          </p:val>
                                        </p:tav>
                                        <p:tav tm="85000">
                                          <p:val>
                                            <p:strVal val="#ppt_y+0.0169"/>
                                          </p:val>
                                        </p:tav>
                                        <p:tav tm="90000">
                                          <p:val>
                                            <p:strVal val="#ppt_y+0.0076"/>
                                          </p:val>
                                        </p:tav>
                                        <p:tav tm="95000">
                                          <p:val>
                                            <p:strVal val="#ppt_y+0.0019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9285" b="15900"/>
          <a:stretch/>
        </p:blipFill>
        <p:spPr>
          <a:xfrm>
            <a:off x="-3934" y="6233757"/>
            <a:ext cx="9144000" cy="624242"/>
          </a:xfrm>
          <a:prstGeom prst="rect">
            <a:avLst/>
          </a:prstGeom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91470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Diagram 14"/>
          <p:cNvGraphicFramePr/>
          <p:nvPr>
            <p:extLst>
              <p:ext uri="{D42A27DB-BD31-4B8C-83A1-F6EECF244321}">
                <p14:modId xmlns:p14="http://schemas.microsoft.com/office/powerpoint/2010/main" xmlns="" val="875021321"/>
              </p:ext>
            </p:extLst>
          </p:nvPr>
        </p:nvGraphicFramePr>
        <p:xfrm>
          <a:off x="0" y="933449"/>
          <a:ext cx="9144000" cy="42386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16" name="Left-Right Arrow 15"/>
          <p:cNvSpPr/>
          <p:nvPr/>
        </p:nvSpPr>
        <p:spPr bwMode="auto">
          <a:xfrm>
            <a:off x="0" y="4397890"/>
            <a:ext cx="9140066" cy="596754"/>
          </a:xfrm>
          <a:prstGeom prst="left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scene3d>
            <a:camera prst="orthographicFront"/>
            <a:lightRig rig="threePt" dir="t"/>
          </a:scene3d>
          <a:sp3d contourW="12700">
            <a:bevelT/>
            <a:contourClr>
              <a:schemeClr val="bg2"/>
            </a:contourClr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dirty="0"/>
              <a:t>We started the project in Dec 2012 and completed in Apr 2013.</a:t>
            </a:r>
          </a:p>
        </p:txBody>
      </p:sp>
      <p:sp>
        <p:nvSpPr>
          <p:cNvPr id="8" name="Donut 7"/>
          <p:cNvSpPr/>
          <p:nvPr/>
        </p:nvSpPr>
        <p:spPr>
          <a:xfrm>
            <a:off x="2432959" y="5541131"/>
            <a:ext cx="778270" cy="778258"/>
          </a:xfrm>
          <a:prstGeom prst="donut">
            <a:avLst>
              <a:gd name="adj" fmla="val 11010"/>
            </a:avLst>
          </a:prstGeom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11" name="Group 10"/>
          <p:cNvGrpSpPr/>
          <p:nvPr/>
        </p:nvGrpSpPr>
        <p:grpSpPr>
          <a:xfrm>
            <a:off x="2518591" y="5626763"/>
            <a:ext cx="607005" cy="606995"/>
            <a:chOff x="2454955" y="276670"/>
            <a:chExt cx="607005" cy="606995"/>
          </a:xfrm>
          <a:scene3d>
            <a:camera prst="orthographicFront"/>
            <a:lightRig rig="flat" dir="t"/>
          </a:scene3d>
        </p:grpSpPr>
        <p:sp>
          <p:nvSpPr>
            <p:cNvPr id="12" name="Oval 11"/>
            <p:cNvSpPr/>
            <p:nvPr/>
          </p:nvSpPr>
          <p:spPr>
            <a:xfrm>
              <a:off x="2454955" y="276670"/>
              <a:ext cx="607005" cy="606995"/>
            </a:xfrm>
            <a:prstGeom prst="ellipse">
              <a:avLst/>
            </a:prstGeom>
            <a:sp3d z="190500" extrusionH="12700" prstMaterial="plastic">
              <a:bevelT w="50800" h="50800"/>
            </a:sp3d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Oval 5"/>
            <p:cNvSpPr/>
            <p:nvPr/>
          </p:nvSpPr>
          <p:spPr>
            <a:xfrm>
              <a:off x="2543849" y="365562"/>
              <a:ext cx="429217" cy="429211"/>
            </a:xfrm>
            <a:prstGeom prst="rect">
              <a:avLst/>
            </a:prstGeom>
            <a:sp3d z="190500"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kern="1200" dirty="0" smtClean="0"/>
                <a:t>Smart Water Meters</a:t>
              </a:r>
              <a:endParaRPr lang="en-US" sz="1000" kern="1200" dirty="0"/>
            </a:p>
          </p:txBody>
        </p:sp>
      </p:grpSp>
      <p:sp>
        <p:nvSpPr>
          <p:cNvPr id="21" name="Flowchart: Connector 20"/>
          <p:cNvSpPr/>
          <p:nvPr/>
        </p:nvSpPr>
        <p:spPr>
          <a:xfrm>
            <a:off x="4235569" y="5933617"/>
            <a:ext cx="133678" cy="105501"/>
          </a:xfrm>
          <a:prstGeom prst="flowChartConnector">
            <a:avLst/>
          </a:prstGeom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pic>
        <p:nvPicPr>
          <p:cNvPr id="3" name="Picture 2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61237" y="4892948"/>
            <a:ext cx="1280477" cy="1593888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230679" y="5026146"/>
            <a:ext cx="1605516" cy="141029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2" name="Donut 21"/>
          <p:cNvSpPr/>
          <p:nvPr/>
        </p:nvSpPr>
        <p:spPr>
          <a:xfrm>
            <a:off x="5078391" y="5702867"/>
            <a:ext cx="778270" cy="778258"/>
          </a:xfrm>
          <a:prstGeom prst="donut">
            <a:avLst>
              <a:gd name="adj" fmla="val 11010"/>
            </a:avLst>
          </a:prstGeom>
          <a:scene3d>
            <a:camera prst="orthographicFront"/>
            <a:lightRig rig="flat" dir="t"/>
          </a:scene3d>
          <a:sp3d prstMaterial="plastic">
            <a:bevelT w="120900" h="88900"/>
            <a:bevelB w="88900" h="31750" prst="angle"/>
          </a:sp3d>
        </p:spPr>
        <p:style>
          <a:lnRef idx="1">
            <a:schemeClr val="accen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23" name="Group 22"/>
          <p:cNvGrpSpPr/>
          <p:nvPr/>
        </p:nvGrpSpPr>
        <p:grpSpPr>
          <a:xfrm>
            <a:off x="5164023" y="5788498"/>
            <a:ext cx="607005" cy="606995"/>
            <a:chOff x="2454955" y="276670"/>
            <a:chExt cx="607005" cy="606995"/>
          </a:xfrm>
          <a:scene3d>
            <a:camera prst="orthographicFront"/>
            <a:lightRig rig="flat" dir="t"/>
          </a:scene3d>
        </p:grpSpPr>
        <p:sp>
          <p:nvSpPr>
            <p:cNvPr id="24" name="Oval 23"/>
            <p:cNvSpPr/>
            <p:nvPr/>
          </p:nvSpPr>
          <p:spPr>
            <a:xfrm>
              <a:off x="2454955" y="276670"/>
              <a:ext cx="607005" cy="606995"/>
            </a:xfrm>
            <a:prstGeom prst="ellipse">
              <a:avLst/>
            </a:prstGeom>
            <a:sp3d z="190500" extrusionH="12700" prstMaterial="plastic">
              <a:bevelT w="50800" h="50800"/>
            </a:sp3d>
          </p:spPr>
          <p:style>
            <a:ln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5" name="Oval 5"/>
            <p:cNvSpPr/>
            <p:nvPr/>
          </p:nvSpPr>
          <p:spPr>
            <a:xfrm>
              <a:off x="2543849" y="365562"/>
              <a:ext cx="429217" cy="429211"/>
            </a:xfrm>
            <a:prstGeom prst="rect">
              <a:avLst/>
            </a:prstGeom>
            <a:sp3d z="190500"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0" tIns="0" rIns="0" bIns="0" numCol="1" spcCol="1270" anchor="ctr" anchorCtr="0">
              <a:noAutofit/>
            </a:bodyPr>
            <a:lstStyle/>
            <a:p>
              <a:pPr lvl="0" algn="ctr" defTabSz="4445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000" kern="1200" dirty="0" smtClean="0"/>
                <a:t>Smart Water Meters</a:t>
              </a:r>
              <a:endParaRPr lang="en-US" sz="1000" kern="1200" dirty="0"/>
            </a:p>
          </p:txBody>
        </p:sp>
      </p:grpSp>
      <p:sp>
        <p:nvSpPr>
          <p:cNvPr id="5" name="Rectangle 4"/>
          <p:cNvSpPr/>
          <p:nvPr/>
        </p:nvSpPr>
        <p:spPr>
          <a:xfrm>
            <a:off x="-7868" y="1454076"/>
            <a:ext cx="9147934" cy="338554"/>
          </a:xfrm>
          <a:prstGeom prst="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en-US" sz="1600" dirty="0"/>
              <a:t>The objective is to </a:t>
            </a:r>
            <a:r>
              <a:rPr lang="en-US" sz="1600" dirty="0" smtClean="0"/>
              <a:t>help us to formulate future plans to conserve more water</a:t>
            </a:r>
            <a:endParaRPr lang="en-US" sz="1600" dirty="0"/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1035447" y="364540"/>
            <a:ext cx="5242523" cy="41717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US" dirty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Project Implementation </a:t>
            </a:r>
            <a:r>
              <a:rPr lang="en-US" dirty="0" smtClean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-4 </a:t>
            </a:r>
            <a:r>
              <a:rPr lang="en-US" dirty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of </a:t>
            </a:r>
            <a:r>
              <a:rPr lang="en-US" dirty="0" smtClean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6</a:t>
            </a:r>
            <a:endParaRPr lang="en-US" dirty="0">
              <a:solidFill>
                <a:srgbClr val="2875CA"/>
              </a:solidFill>
              <a:latin typeface="Britannic Bold" pitchFamily="34" charset="0"/>
              <a:ea typeface="+mj-ea"/>
              <a:cs typeface="+mj-cs"/>
            </a:endParaRPr>
          </a:p>
        </p:txBody>
      </p:sp>
      <p:grpSp>
        <p:nvGrpSpPr>
          <p:cNvPr id="30" name="Group 29"/>
          <p:cNvGrpSpPr/>
          <p:nvPr/>
        </p:nvGrpSpPr>
        <p:grpSpPr>
          <a:xfrm rot="264182">
            <a:off x="86596" y="91470"/>
            <a:ext cx="777240" cy="777240"/>
            <a:chOff x="3728638" y="1092389"/>
            <a:chExt cx="914400" cy="914400"/>
          </a:xfrm>
        </p:grpSpPr>
        <p:grpSp>
          <p:nvGrpSpPr>
            <p:cNvPr id="31" name="Group 30"/>
            <p:cNvGrpSpPr/>
            <p:nvPr/>
          </p:nvGrpSpPr>
          <p:grpSpPr>
            <a:xfrm>
              <a:off x="3728638" y="1092389"/>
              <a:ext cx="914400" cy="914400"/>
              <a:chOff x="2378075" y="502896"/>
              <a:chExt cx="2066925" cy="2066925"/>
            </a:xfrm>
          </p:grpSpPr>
          <p:grpSp>
            <p:nvGrpSpPr>
              <p:cNvPr id="33" name="Group 28"/>
              <p:cNvGrpSpPr>
                <a:grpSpLocks/>
              </p:cNvGrpSpPr>
              <p:nvPr/>
            </p:nvGrpSpPr>
            <p:grpSpPr bwMode="auto">
              <a:xfrm>
                <a:off x="2378075" y="502896"/>
                <a:ext cx="2066925" cy="2066925"/>
                <a:chOff x="2333625" y="219075"/>
                <a:chExt cx="2066236" cy="2066236"/>
              </a:xfrm>
            </p:grpSpPr>
            <p:grpSp>
              <p:nvGrpSpPr>
                <p:cNvPr id="39" name="Group 154"/>
                <p:cNvGrpSpPr>
                  <a:grpSpLocks/>
                </p:cNvGrpSpPr>
                <p:nvPr/>
              </p:nvGrpSpPr>
              <p:grpSpPr bwMode="auto">
                <a:xfrm>
                  <a:off x="2333625" y="219075"/>
                  <a:ext cx="2066236" cy="2066236"/>
                  <a:chOff x="2844111" y="1118742"/>
                  <a:chExt cx="3508375" cy="3508375"/>
                </a:xfrm>
              </p:grpSpPr>
              <p:sp>
                <p:nvSpPr>
                  <p:cNvPr id="41" name="Freeform 6"/>
                  <p:cNvSpPr>
                    <a:spLocks noEditPoints="1"/>
                  </p:cNvSpPr>
                  <p:nvPr>
                    <p:custDataLst>
                      <p:tags r:id="rId1"/>
                    </p:custDataLst>
                  </p:nvPr>
                </p:nvSpPr>
                <p:spPr bwMode="gray">
                  <a:xfrm rot="3600000">
                    <a:off x="2844111" y="1118742"/>
                    <a:ext cx="3508375" cy="3508375"/>
                  </a:xfrm>
                  <a:custGeom>
                    <a:avLst/>
                    <a:gdLst/>
                    <a:ahLst/>
                    <a:cxnLst>
                      <a:cxn ang="0">
                        <a:pos x="292" y="0"/>
                      </a:cxn>
                      <a:cxn ang="0">
                        <a:pos x="0" y="293"/>
                      </a:cxn>
                      <a:cxn ang="0">
                        <a:pos x="292" y="585"/>
                      </a:cxn>
                      <a:cxn ang="0">
                        <a:pos x="585" y="293"/>
                      </a:cxn>
                      <a:cxn ang="0">
                        <a:pos x="292" y="0"/>
                      </a:cxn>
                      <a:cxn ang="0">
                        <a:pos x="292" y="539"/>
                      </a:cxn>
                      <a:cxn ang="0">
                        <a:pos x="46" y="293"/>
                      </a:cxn>
                      <a:cxn ang="0">
                        <a:pos x="292" y="46"/>
                      </a:cxn>
                      <a:cxn ang="0">
                        <a:pos x="539" y="293"/>
                      </a:cxn>
                      <a:cxn ang="0">
                        <a:pos x="292" y="539"/>
                      </a:cxn>
                    </a:cxnLst>
                    <a:rect l="0" t="0" r="r" b="b"/>
                    <a:pathLst>
                      <a:path w="585" h="585">
                        <a:moveTo>
                          <a:pt x="292" y="0"/>
                        </a:moveTo>
                        <a:cubicBezTo>
                          <a:pt x="131" y="0"/>
                          <a:pt x="0" y="131"/>
                          <a:pt x="0" y="293"/>
                        </a:cubicBezTo>
                        <a:cubicBezTo>
                          <a:pt x="0" y="454"/>
                          <a:pt x="131" y="585"/>
                          <a:pt x="292" y="585"/>
                        </a:cubicBezTo>
                        <a:cubicBezTo>
                          <a:pt x="454" y="585"/>
                          <a:pt x="585" y="454"/>
                          <a:pt x="585" y="293"/>
                        </a:cubicBezTo>
                        <a:cubicBezTo>
                          <a:pt x="585" y="131"/>
                          <a:pt x="454" y="0"/>
                          <a:pt x="292" y="0"/>
                        </a:cubicBezTo>
                        <a:close/>
                        <a:moveTo>
                          <a:pt x="292" y="539"/>
                        </a:moveTo>
                        <a:cubicBezTo>
                          <a:pt x="156" y="539"/>
                          <a:pt x="46" y="429"/>
                          <a:pt x="46" y="293"/>
                        </a:cubicBezTo>
                        <a:cubicBezTo>
                          <a:pt x="46" y="156"/>
                          <a:pt x="156" y="46"/>
                          <a:pt x="292" y="46"/>
                        </a:cubicBezTo>
                        <a:cubicBezTo>
                          <a:pt x="429" y="46"/>
                          <a:pt x="539" y="156"/>
                          <a:pt x="539" y="293"/>
                        </a:cubicBezTo>
                        <a:cubicBezTo>
                          <a:pt x="539" y="429"/>
                          <a:pt x="429" y="539"/>
                          <a:pt x="292" y="539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4"/>
                  </a:lnRef>
                  <a:fillRef idx="3">
                    <a:schemeClr val="accent4"/>
                  </a:fillRef>
                  <a:effectRef idx="3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sz="900"/>
                  </a:p>
                </p:txBody>
              </p:sp>
              <p:sp>
                <p:nvSpPr>
                  <p:cNvPr id="42" name="Ellipse 12"/>
                  <p:cNvSpPr>
                    <a:spLocks noChangeArrowheads="1"/>
                  </p:cNvSpPr>
                  <p:nvPr/>
                </p:nvSpPr>
                <p:spPr bwMode="auto">
                  <a:xfrm>
                    <a:off x="3948899" y="2247780"/>
                    <a:ext cx="1279938" cy="127993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353637"/>
                      </a:gs>
                      <a:gs pos="100000">
                        <a:srgbClr val="151616"/>
                      </a:gs>
                    </a:gsLst>
                    <a:path path="shape">
                      <a:fillToRect l="50000" t="50000" r="50000" b="50000"/>
                    </a:path>
                  </a:gradFill>
                  <a:ln w="9525">
                    <a:solidFill>
                      <a:srgbClr val="191919"/>
                    </a:solidFill>
                    <a:round/>
                    <a:headEnd/>
                    <a:tailEnd/>
                  </a:ln>
                  <a:effectLst>
                    <a:outerShdw dist="23000" dir="5400000" rotWithShape="0">
                      <a:srgbClr val="808080">
                        <a:alpha val="34999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latin typeface="Calibri" charset="0"/>
                    </a:endParaRPr>
                  </a:p>
                </p:txBody>
              </p:sp>
              <p:sp>
                <p:nvSpPr>
                  <p:cNvPr id="43" name="Ellipse 13"/>
                  <p:cNvSpPr/>
                  <p:nvPr/>
                </p:nvSpPr>
                <p:spPr bwMode="auto">
                  <a:xfrm>
                    <a:off x="4118660" y="2304368"/>
                    <a:ext cx="940416" cy="692512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tx2">
                          <a:lumMod val="40000"/>
                          <a:lumOff val="60000"/>
                          <a:alpha val="0"/>
                        </a:schemeClr>
                      </a:gs>
                      <a:gs pos="100000">
                        <a:schemeClr val="bg1">
                          <a:alpha val="77000"/>
                        </a:schemeClr>
                      </a:gs>
                    </a:gsLst>
                    <a:lin ang="162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ea typeface="ＭＳ Ｐゴシック" charset="-128"/>
                    </a:endParaRPr>
                  </a:p>
                </p:txBody>
              </p:sp>
              <p:sp>
                <p:nvSpPr>
                  <p:cNvPr id="44" name="Block Arc 43"/>
                  <p:cNvSpPr/>
                  <p:nvPr/>
                </p:nvSpPr>
                <p:spPr>
                  <a:xfrm rot="18729919">
                    <a:off x="3230788" y="1508111"/>
                    <a:ext cx="2726940" cy="2729633"/>
                  </a:xfrm>
                  <a:prstGeom prst="blockArc">
                    <a:avLst>
                      <a:gd name="adj1" fmla="val 574634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900"/>
                  </a:p>
                </p:txBody>
              </p:sp>
              <p:sp>
                <p:nvSpPr>
                  <p:cNvPr id="45" name="Block Arc 44"/>
                  <p:cNvSpPr/>
                  <p:nvPr/>
                </p:nvSpPr>
                <p:spPr>
                  <a:xfrm rot="1352524">
                    <a:off x="3229440" y="1509459"/>
                    <a:ext cx="2729633" cy="2726940"/>
                  </a:xfrm>
                  <a:prstGeom prst="blockArc">
                    <a:avLst>
                      <a:gd name="adj1" fmla="val 596470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6" name="Block Arc 45"/>
                  <p:cNvSpPr/>
                  <p:nvPr/>
                </p:nvSpPr>
                <p:spPr>
                  <a:xfrm rot="5869595">
                    <a:off x="3230788" y="1508111"/>
                    <a:ext cx="2726940" cy="2729633"/>
                  </a:xfrm>
                  <a:prstGeom prst="blockArc">
                    <a:avLst>
                      <a:gd name="adj1" fmla="val 5627424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7" name="Block Arc 46"/>
                  <p:cNvSpPr/>
                  <p:nvPr/>
                </p:nvSpPr>
                <p:spPr>
                  <a:xfrm rot="10291675">
                    <a:off x="3229440" y="1509459"/>
                    <a:ext cx="2729633" cy="2726940"/>
                  </a:xfrm>
                  <a:prstGeom prst="blockArc">
                    <a:avLst>
                      <a:gd name="adj1" fmla="val 5803831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8" name="Block Arc 47"/>
                  <p:cNvSpPr/>
                  <p:nvPr/>
                </p:nvSpPr>
                <p:spPr>
                  <a:xfrm rot="14301489">
                    <a:off x="3230788" y="1508111"/>
                    <a:ext cx="2726940" cy="2729633"/>
                  </a:xfrm>
                  <a:prstGeom prst="blockArc">
                    <a:avLst>
                      <a:gd name="adj1" fmla="val 6140645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</p:grpSp>
            <p:sp>
              <p:nvSpPr>
                <p:cNvPr id="40" name="Ellipse 15"/>
                <p:cNvSpPr/>
                <p:nvPr/>
              </p:nvSpPr>
              <p:spPr bwMode="auto">
                <a:xfrm>
                  <a:off x="2763695" y="465055"/>
                  <a:ext cx="1237837" cy="91568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900" dirty="0"/>
                </a:p>
              </p:txBody>
            </p:sp>
          </p:grpSp>
          <p:sp>
            <p:nvSpPr>
              <p:cNvPr id="34" name="TextBox 29"/>
              <p:cNvSpPr txBox="1">
                <a:spLocks noChangeArrowheads="1"/>
              </p:cNvSpPr>
              <p:nvPr/>
            </p:nvSpPr>
            <p:spPr bwMode="auto">
              <a:xfrm>
                <a:off x="2754110" y="771753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D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35" name="TextBox 29"/>
              <p:cNvSpPr txBox="1">
                <a:spLocks noChangeArrowheads="1"/>
              </p:cNvSpPr>
              <p:nvPr/>
            </p:nvSpPr>
            <p:spPr bwMode="auto">
              <a:xfrm>
                <a:off x="2584640" y="1514847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M</a:t>
                </a:r>
              </a:p>
            </p:txBody>
          </p:sp>
          <p:sp>
            <p:nvSpPr>
              <p:cNvPr id="36" name="TextBox 29"/>
              <p:cNvSpPr txBox="1">
                <a:spLocks noChangeArrowheads="1"/>
              </p:cNvSpPr>
              <p:nvPr/>
            </p:nvSpPr>
            <p:spPr bwMode="auto">
              <a:xfrm>
                <a:off x="3253164" y="1880209"/>
                <a:ext cx="289718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A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37" name="TextBox 29"/>
              <p:cNvSpPr txBox="1">
                <a:spLocks noChangeArrowheads="1"/>
              </p:cNvSpPr>
              <p:nvPr/>
            </p:nvSpPr>
            <p:spPr bwMode="auto">
              <a:xfrm>
                <a:off x="3844923" y="13567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I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38" name="TextBox 29"/>
              <p:cNvSpPr txBox="1">
                <a:spLocks noChangeArrowheads="1"/>
              </p:cNvSpPr>
              <p:nvPr/>
            </p:nvSpPr>
            <p:spPr bwMode="auto">
              <a:xfrm>
                <a:off x="3487620" y="7158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C</a:t>
                </a:r>
              </a:p>
            </p:txBody>
          </p:sp>
        </p:grpSp>
        <p:sp>
          <p:nvSpPr>
            <p:cNvPr id="32" name="TextBox 29"/>
            <p:cNvSpPr txBox="1">
              <a:spLocks noChangeArrowheads="1"/>
            </p:cNvSpPr>
            <p:nvPr/>
          </p:nvSpPr>
          <p:spPr bwMode="auto">
            <a:xfrm rot="21335818">
              <a:off x="4093795" y="1350066"/>
              <a:ext cx="128171" cy="398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da-DK" sz="1600" b="1" dirty="0" smtClean="0">
                  <a:solidFill>
                    <a:schemeClr val="bg1"/>
                  </a:solidFill>
                </a:rPr>
                <a:t>I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16663606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5E9EFF"/>
            </a:gs>
            <a:gs pos="39999">
              <a:srgbClr val="85C2FF"/>
            </a:gs>
            <a:gs pos="70000">
              <a:srgbClr val="C4D6EB"/>
            </a:gs>
            <a:gs pos="100000">
              <a:srgbClr val="FFEBFA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29285" b="15900"/>
          <a:stretch/>
        </p:blipFill>
        <p:spPr>
          <a:xfrm>
            <a:off x="-75983" y="4653888"/>
            <a:ext cx="9292157" cy="231329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backgroundRemoval t="0" b="100000" l="0" r="9765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91470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itle 1"/>
          <p:cNvSpPr txBox="1">
            <a:spLocks/>
          </p:cNvSpPr>
          <p:nvPr/>
        </p:nvSpPr>
        <p:spPr bwMode="auto">
          <a:xfrm>
            <a:off x="-47501" y="783746"/>
            <a:ext cx="9143998" cy="369332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/>
          </a:sp3d>
        </p:spPr>
        <p:txBody>
          <a:bodyPr wrap="square">
            <a:spAutoFit/>
          </a:bodyPr>
          <a:lstStyle>
            <a:defPPr>
              <a:defRPr lang="en-US"/>
            </a:defPPr>
            <a:lvl1pPr algn="ctr">
              <a:defRPr sz="1800" b="1" cap="all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reflection blurRad="12700" stA="28000" endPos="45000" dist="1000" dir="5400000" sy="-100000" algn="bl" rotWithShape="0"/>
                </a:effectLst>
              </a:defRPr>
            </a:lvl1pPr>
          </a:lstStyle>
          <a:p>
            <a:r>
              <a:rPr lang="en-US" dirty="0"/>
              <a:t>Water Consumption Charts from PUB Web Portal</a:t>
            </a:r>
          </a:p>
        </p:txBody>
      </p:sp>
      <p:pic>
        <p:nvPicPr>
          <p:cNvPr id="1026" name="Picture 2" descr="E:\smart meter2.bmp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010" t="23102" r="18019" b="25183"/>
          <a:stretch/>
        </p:blipFill>
        <p:spPr bwMode="auto">
          <a:xfrm>
            <a:off x="4650263" y="1959436"/>
            <a:ext cx="4334495" cy="360172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 descr="E:\Smart meter.bmp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6778" t="27292" r="17732" b="22014"/>
          <a:stretch/>
        </p:blipFill>
        <p:spPr bwMode="auto">
          <a:xfrm>
            <a:off x="130629" y="1959436"/>
            <a:ext cx="4393869" cy="360389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extBox 18"/>
          <p:cNvSpPr txBox="1"/>
          <p:nvPr/>
        </p:nvSpPr>
        <p:spPr>
          <a:xfrm>
            <a:off x="1816925" y="5890161"/>
            <a:ext cx="18473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/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993594" y="366576"/>
            <a:ext cx="5352615" cy="41717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US" dirty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Project Implementation </a:t>
            </a:r>
            <a:r>
              <a:rPr lang="en-US" dirty="0" smtClean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-4 </a:t>
            </a:r>
            <a:r>
              <a:rPr lang="en-US" dirty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of </a:t>
            </a:r>
            <a:r>
              <a:rPr lang="en-US" dirty="0" smtClean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6</a:t>
            </a:r>
            <a:endParaRPr lang="en-US" dirty="0">
              <a:solidFill>
                <a:srgbClr val="2875CA"/>
              </a:solidFill>
              <a:latin typeface="Britannic Bold" pitchFamily="34" charset="0"/>
              <a:ea typeface="+mj-ea"/>
              <a:cs typeface="+mj-cs"/>
            </a:endParaRPr>
          </a:p>
        </p:txBody>
      </p:sp>
      <p:grpSp>
        <p:nvGrpSpPr>
          <p:cNvPr id="24" name="Group 23"/>
          <p:cNvGrpSpPr/>
          <p:nvPr/>
        </p:nvGrpSpPr>
        <p:grpSpPr>
          <a:xfrm rot="264182">
            <a:off x="86596" y="91470"/>
            <a:ext cx="777240" cy="777240"/>
            <a:chOff x="3728638" y="1092389"/>
            <a:chExt cx="914400" cy="914400"/>
          </a:xfrm>
        </p:grpSpPr>
        <p:grpSp>
          <p:nvGrpSpPr>
            <p:cNvPr id="25" name="Group 24"/>
            <p:cNvGrpSpPr/>
            <p:nvPr/>
          </p:nvGrpSpPr>
          <p:grpSpPr>
            <a:xfrm>
              <a:off x="3728638" y="1092389"/>
              <a:ext cx="914400" cy="914400"/>
              <a:chOff x="2378075" y="502896"/>
              <a:chExt cx="2066925" cy="2066925"/>
            </a:xfrm>
          </p:grpSpPr>
          <p:grpSp>
            <p:nvGrpSpPr>
              <p:cNvPr id="27" name="Group 28"/>
              <p:cNvGrpSpPr>
                <a:grpSpLocks/>
              </p:cNvGrpSpPr>
              <p:nvPr/>
            </p:nvGrpSpPr>
            <p:grpSpPr bwMode="auto">
              <a:xfrm>
                <a:off x="2378075" y="502896"/>
                <a:ext cx="2066925" cy="2066925"/>
                <a:chOff x="2333625" y="219075"/>
                <a:chExt cx="2066236" cy="2066236"/>
              </a:xfrm>
            </p:grpSpPr>
            <p:grpSp>
              <p:nvGrpSpPr>
                <p:cNvPr id="33" name="Group 154"/>
                <p:cNvGrpSpPr>
                  <a:grpSpLocks/>
                </p:cNvGrpSpPr>
                <p:nvPr/>
              </p:nvGrpSpPr>
              <p:grpSpPr bwMode="auto">
                <a:xfrm>
                  <a:off x="2333625" y="219075"/>
                  <a:ext cx="2066236" cy="2066236"/>
                  <a:chOff x="2844111" y="1118742"/>
                  <a:chExt cx="3508375" cy="3508375"/>
                </a:xfrm>
              </p:grpSpPr>
              <p:sp>
                <p:nvSpPr>
                  <p:cNvPr id="35" name="Freeform 6"/>
                  <p:cNvSpPr>
                    <a:spLocks noEditPoints="1"/>
                  </p:cNvSpPr>
                  <p:nvPr>
                    <p:custDataLst>
                      <p:tags r:id="rId1"/>
                    </p:custDataLst>
                  </p:nvPr>
                </p:nvSpPr>
                <p:spPr bwMode="gray">
                  <a:xfrm rot="3600000">
                    <a:off x="2844111" y="1118742"/>
                    <a:ext cx="3508375" cy="3508375"/>
                  </a:xfrm>
                  <a:custGeom>
                    <a:avLst/>
                    <a:gdLst/>
                    <a:ahLst/>
                    <a:cxnLst>
                      <a:cxn ang="0">
                        <a:pos x="292" y="0"/>
                      </a:cxn>
                      <a:cxn ang="0">
                        <a:pos x="0" y="293"/>
                      </a:cxn>
                      <a:cxn ang="0">
                        <a:pos x="292" y="585"/>
                      </a:cxn>
                      <a:cxn ang="0">
                        <a:pos x="585" y="293"/>
                      </a:cxn>
                      <a:cxn ang="0">
                        <a:pos x="292" y="0"/>
                      </a:cxn>
                      <a:cxn ang="0">
                        <a:pos x="292" y="539"/>
                      </a:cxn>
                      <a:cxn ang="0">
                        <a:pos x="46" y="293"/>
                      </a:cxn>
                      <a:cxn ang="0">
                        <a:pos x="292" y="46"/>
                      </a:cxn>
                      <a:cxn ang="0">
                        <a:pos x="539" y="293"/>
                      </a:cxn>
                      <a:cxn ang="0">
                        <a:pos x="292" y="539"/>
                      </a:cxn>
                    </a:cxnLst>
                    <a:rect l="0" t="0" r="r" b="b"/>
                    <a:pathLst>
                      <a:path w="585" h="585">
                        <a:moveTo>
                          <a:pt x="292" y="0"/>
                        </a:moveTo>
                        <a:cubicBezTo>
                          <a:pt x="131" y="0"/>
                          <a:pt x="0" y="131"/>
                          <a:pt x="0" y="293"/>
                        </a:cubicBezTo>
                        <a:cubicBezTo>
                          <a:pt x="0" y="454"/>
                          <a:pt x="131" y="585"/>
                          <a:pt x="292" y="585"/>
                        </a:cubicBezTo>
                        <a:cubicBezTo>
                          <a:pt x="454" y="585"/>
                          <a:pt x="585" y="454"/>
                          <a:pt x="585" y="293"/>
                        </a:cubicBezTo>
                        <a:cubicBezTo>
                          <a:pt x="585" y="131"/>
                          <a:pt x="454" y="0"/>
                          <a:pt x="292" y="0"/>
                        </a:cubicBezTo>
                        <a:close/>
                        <a:moveTo>
                          <a:pt x="292" y="539"/>
                        </a:moveTo>
                        <a:cubicBezTo>
                          <a:pt x="156" y="539"/>
                          <a:pt x="46" y="429"/>
                          <a:pt x="46" y="293"/>
                        </a:cubicBezTo>
                        <a:cubicBezTo>
                          <a:pt x="46" y="156"/>
                          <a:pt x="156" y="46"/>
                          <a:pt x="292" y="46"/>
                        </a:cubicBezTo>
                        <a:cubicBezTo>
                          <a:pt x="429" y="46"/>
                          <a:pt x="539" y="156"/>
                          <a:pt x="539" y="293"/>
                        </a:cubicBezTo>
                        <a:cubicBezTo>
                          <a:pt x="539" y="429"/>
                          <a:pt x="429" y="539"/>
                          <a:pt x="292" y="539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4"/>
                  </a:lnRef>
                  <a:fillRef idx="3">
                    <a:schemeClr val="accent4"/>
                  </a:fillRef>
                  <a:effectRef idx="3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sz="900"/>
                  </a:p>
                </p:txBody>
              </p:sp>
              <p:sp>
                <p:nvSpPr>
                  <p:cNvPr id="36" name="Ellipse 12"/>
                  <p:cNvSpPr>
                    <a:spLocks noChangeArrowheads="1"/>
                  </p:cNvSpPr>
                  <p:nvPr/>
                </p:nvSpPr>
                <p:spPr bwMode="auto">
                  <a:xfrm>
                    <a:off x="3948899" y="2247780"/>
                    <a:ext cx="1279938" cy="127993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353637"/>
                      </a:gs>
                      <a:gs pos="100000">
                        <a:srgbClr val="151616"/>
                      </a:gs>
                    </a:gsLst>
                    <a:path path="shape">
                      <a:fillToRect l="50000" t="50000" r="50000" b="50000"/>
                    </a:path>
                  </a:gradFill>
                  <a:ln w="9525">
                    <a:solidFill>
                      <a:srgbClr val="191919"/>
                    </a:solidFill>
                    <a:round/>
                    <a:headEnd/>
                    <a:tailEnd/>
                  </a:ln>
                  <a:effectLst>
                    <a:outerShdw dist="23000" dir="5400000" rotWithShape="0">
                      <a:srgbClr val="808080">
                        <a:alpha val="34999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latin typeface="Calibri" charset="0"/>
                    </a:endParaRPr>
                  </a:p>
                </p:txBody>
              </p:sp>
              <p:sp>
                <p:nvSpPr>
                  <p:cNvPr id="37" name="Ellipse 13"/>
                  <p:cNvSpPr/>
                  <p:nvPr/>
                </p:nvSpPr>
                <p:spPr bwMode="auto">
                  <a:xfrm>
                    <a:off x="4118660" y="2304368"/>
                    <a:ext cx="940416" cy="692512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tx2">
                          <a:lumMod val="40000"/>
                          <a:lumOff val="60000"/>
                          <a:alpha val="0"/>
                        </a:schemeClr>
                      </a:gs>
                      <a:gs pos="100000">
                        <a:schemeClr val="bg1">
                          <a:alpha val="77000"/>
                        </a:schemeClr>
                      </a:gs>
                    </a:gsLst>
                    <a:lin ang="162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ea typeface="ＭＳ Ｐゴシック" charset="-128"/>
                    </a:endParaRPr>
                  </a:p>
                </p:txBody>
              </p:sp>
              <p:sp>
                <p:nvSpPr>
                  <p:cNvPr id="38" name="Block Arc 37"/>
                  <p:cNvSpPr/>
                  <p:nvPr/>
                </p:nvSpPr>
                <p:spPr>
                  <a:xfrm rot="18729919">
                    <a:off x="3230788" y="1508111"/>
                    <a:ext cx="2726940" cy="2729633"/>
                  </a:xfrm>
                  <a:prstGeom prst="blockArc">
                    <a:avLst>
                      <a:gd name="adj1" fmla="val 574634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900"/>
                  </a:p>
                </p:txBody>
              </p:sp>
              <p:sp>
                <p:nvSpPr>
                  <p:cNvPr id="39" name="Block Arc 38"/>
                  <p:cNvSpPr/>
                  <p:nvPr/>
                </p:nvSpPr>
                <p:spPr>
                  <a:xfrm rot="1352524">
                    <a:off x="3229440" y="1509459"/>
                    <a:ext cx="2729633" cy="2726940"/>
                  </a:xfrm>
                  <a:prstGeom prst="blockArc">
                    <a:avLst>
                      <a:gd name="adj1" fmla="val 596470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0" name="Block Arc 39"/>
                  <p:cNvSpPr/>
                  <p:nvPr/>
                </p:nvSpPr>
                <p:spPr>
                  <a:xfrm rot="5869595">
                    <a:off x="3230788" y="1508111"/>
                    <a:ext cx="2726940" cy="2729633"/>
                  </a:xfrm>
                  <a:prstGeom prst="blockArc">
                    <a:avLst>
                      <a:gd name="adj1" fmla="val 5627424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1" name="Block Arc 40"/>
                  <p:cNvSpPr/>
                  <p:nvPr/>
                </p:nvSpPr>
                <p:spPr>
                  <a:xfrm rot="10291675">
                    <a:off x="3229440" y="1509459"/>
                    <a:ext cx="2729633" cy="2726940"/>
                  </a:xfrm>
                  <a:prstGeom prst="blockArc">
                    <a:avLst>
                      <a:gd name="adj1" fmla="val 5803831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2" name="Block Arc 41"/>
                  <p:cNvSpPr/>
                  <p:nvPr/>
                </p:nvSpPr>
                <p:spPr>
                  <a:xfrm rot="14301489">
                    <a:off x="3230788" y="1508111"/>
                    <a:ext cx="2726940" cy="2729633"/>
                  </a:xfrm>
                  <a:prstGeom prst="blockArc">
                    <a:avLst>
                      <a:gd name="adj1" fmla="val 6140645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</p:grpSp>
            <p:sp>
              <p:nvSpPr>
                <p:cNvPr id="34" name="Ellipse 15"/>
                <p:cNvSpPr/>
                <p:nvPr/>
              </p:nvSpPr>
              <p:spPr bwMode="auto">
                <a:xfrm>
                  <a:off x="2763695" y="465055"/>
                  <a:ext cx="1237837" cy="91568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900" dirty="0"/>
                </a:p>
              </p:txBody>
            </p:sp>
          </p:grpSp>
          <p:sp>
            <p:nvSpPr>
              <p:cNvPr id="28" name="TextBox 29"/>
              <p:cNvSpPr txBox="1">
                <a:spLocks noChangeArrowheads="1"/>
              </p:cNvSpPr>
              <p:nvPr/>
            </p:nvSpPr>
            <p:spPr bwMode="auto">
              <a:xfrm>
                <a:off x="2754110" y="771753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D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29" name="TextBox 29"/>
              <p:cNvSpPr txBox="1">
                <a:spLocks noChangeArrowheads="1"/>
              </p:cNvSpPr>
              <p:nvPr/>
            </p:nvSpPr>
            <p:spPr bwMode="auto">
              <a:xfrm>
                <a:off x="2584640" y="1514847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M</a:t>
                </a:r>
              </a:p>
            </p:txBody>
          </p:sp>
          <p:sp>
            <p:nvSpPr>
              <p:cNvPr id="30" name="TextBox 29"/>
              <p:cNvSpPr txBox="1">
                <a:spLocks noChangeArrowheads="1"/>
              </p:cNvSpPr>
              <p:nvPr/>
            </p:nvSpPr>
            <p:spPr bwMode="auto">
              <a:xfrm>
                <a:off x="3253164" y="1880209"/>
                <a:ext cx="289718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A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31" name="TextBox 29"/>
              <p:cNvSpPr txBox="1">
                <a:spLocks noChangeArrowheads="1"/>
              </p:cNvSpPr>
              <p:nvPr/>
            </p:nvSpPr>
            <p:spPr bwMode="auto">
              <a:xfrm>
                <a:off x="3844923" y="13567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I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32" name="TextBox 29"/>
              <p:cNvSpPr txBox="1">
                <a:spLocks noChangeArrowheads="1"/>
              </p:cNvSpPr>
              <p:nvPr/>
            </p:nvSpPr>
            <p:spPr bwMode="auto">
              <a:xfrm>
                <a:off x="3487620" y="7158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C</a:t>
                </a:r>
              </a:p>
            </p:txBody>
          </p:sp>
        </p:grpSp>
        <p:sp>
          <p:nvSpPr>
            <p:cNvPr id="26" name="TextBox 29"/>
            <p:cNvSpPr txBox="1">
              <a:spLocks noChangeArrowheads="1"/>
            </p:cNvSpPr>
            <p:nvPr/>
          </p:nvSpPr>
          <p:spPr bwMode="auto">
            <a:xfrm rot="21335818">
              <a:off x="4093795" y="1350066"/>
              <a:ext cx="128171" cy="398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da-DK" sz="1600" b="1" dirty="0" smtClean="0">
                  <a:solidFill>
                    <a:schemeClr val="bg1"/>
                  </a:solidFill>
                </a:rPr>
                <a:t>I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195270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flipH="1">
            <a:off x="0" y="2057793"/>
            <a:ext cx="9144000" cy="4806798"/>
          </a:xfrm>
          <a:prstGeom prst="rect">
            <a:avLst/>
          </a:prstGeom>
          <a:blipFill dpi="0" rotWithShape="1">
            <a:blip r:embed="rId3" cstate="print">
              <a:alphaModFix amt="0"/>
            </a:blip>
            <a:srcRect/>
            <a:stretch>
              <a:fillRect/>
            </a:stretch>
          </a:blipFill>
          <a:effectLst/>
        </p:spPr>
      </p:pic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91470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317684" y="265669"/>
            <a:ext cx="8359775" cy="413680"/>
          </a:xfrm>
        </p:spPr>
        <p:txBody>
          <a:bodyPr/>
          <a:lstStyle/>
          <a:p>
            <a:r>
              <a:rPr lang="en-US" sz="2400" dirty="0" smtClean="0">
                <a:latin typeface="Britannic Bold" pitchFamily="34" charset="0"/>
              </a:rPr>
              <a:t>Team Members</a:t>
            </a:r>
            <a:endParaRPr lang="en-US" sz="2400" dirty="0">
              <a:latin typeface="Britannic Bold" pitchFamily="34" charset="0"/>
            </a:endParaRPr>
          </a:p>
        </p:txBody>
      </p:sp>
      <p:sp useBgFill="1">
        <p:nvSpPr>
          <p:cNvPr id="22" name="Arc 21"/>
          <p:cNvSpPr/>
          <p:nvPr/>
        </p:nvSpPr>
        <p:spPr>
          <a:xfrm>
            <a:off x="-1729276" y="1662646"/>
            <a:ext cx="3441796" cy="3437007"/>
          </a:xfrm>
          <a:prstGeom prst="arc">
            <a:avLst>
              <a:gd name="adj1" fmla="val 16200000"/>
              <a:gd name="adj2" fmla="val 5406790"/>
            </a:avLst>
          </a:prstGeom>
          <a:ln>
            <a:solidFill>
              <a:srgbClr val="7D7D7D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 flipH="1">
            <a:off x="2556590" y="890390"/>
            <a:ext cx="1662167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lvl="0" indent="0">
              <a:buNone/>
            </a:pPr>
            <a:r>
              <a:rPr lang="en-US" sz="1800" dirty="0" smtClean="0"/>
              <a:t>Team </a:t>
            </a:r>
            <a:r>
              <a:rPr lang="en-US" sz="1800" dirty="0"/>
              <a:t>Name</a:t>
            </a:r>
            <a:r>
              <a:rPr lang="en-US" sz="1800" dirty="0" smtClean="0"/>
              <a:t>:</a:t>
            </a:r>
            <a:endParaRPr lang="en-US" sz="2800" b="1" dirty="0"/>
          </a:p>
        </p:txBody>
      </p:sp>
      <p:sp>
        <p:nvSpPr>
          <p:cNvPr id="24" name="TextBox 23"/>
          <p:cNvSpPr txBox="1"/>
          <p:nvPr/>
        </p:nvSpPr>
        <p:spPr>
          <a:xfrm flipH="1">
            <a:off x="2912406" y="1492989"/>
            <a:ext cx="7315200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defPPr>
              <a:defRPr lang="en-US"/>
            </a:defPPr>
            <a:lvl1pPr marL="0" lvl="0" indent="0">
              <a:buNone/>
              <a:defRPr sz="1800"/>
            </a:lvl1pPr>
          </a:lstStyle>
          <a:p>
            <a:pPr lvl="0"/>
            <a:r>
              <a:rPr lang="en-US" dirty="0"/>
              <a:t>Project Leader: Yang Haixiang</a:t>
            </a:r>
            <a:endParaRPr lang="en-US" b="1" dirty="0"/>
          </a:p>
        </p:txBody>
      </p:sp>
      <p:sp>
        <p:nvSpPr>
          <p:cNvPr id="26" name="TextBox 25"/>
          <p:cNvSpPr txBox="1"/>
          <p:nvPr/>
        </p:nvSpPr>
        <p:spPr>
          <a:xfrm flipH="1">
            <a:off x="3245845" y="4320609"/>
            <a:ext cx="3645282" cy="3693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sz="1800" dirty="0"/>
              <a:t>Project </a:t>
            </a:r>
            <a:r>
              <a:rPr lang="en-US" sz="1800" dirty="0" smtClean="0"/>
              <a:t>Advisor</a:t>
            </a:r>
            <a:r>
              <a:rPr lang="en-US" sz="1800" dirty="0"/>
              <a:t>: Tang Wai Meng</a:t>
            </a:r>
          </a:p>
        </p:txBody>
      </p:sp>
      <p:sp>
        <p:nvSpPr>
          <p:cNvPr id="27" name="Oval 26"/>
          <p:cNvSpPr/>
          <p:nvPr/>
        </p:nvSpPr>
        <p:spPr>
          <a:xfrm>
            <a:off x="2015792" y="1024939"/>
            <a:ext cx="311727" cy="311727"/>
          </a:xfrm>
          <a:prstGeom prst="ellipse">
            <a:avLst/>
          </a:prstGeom>
          <a:solidFill>
            <a:srgbClr val="EBEBEB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8" name="Oval 27"/>
          <p:cNvSpPr/>
          <p:nvPr/>
        </p:nvSpPr>
        <p:spPr>
          <a:xfrm>
            <a:off x="2458346" y="1531684"/>
            <a:ext cx="311727" cy="311727"/>
          </a:xfrm>
          <a:prstGeom prst="ellipse">
            <a:avLst/>
          </a:prstGeom>
          <a:solidFill>
            <a:srgbClr val="EBEBEB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9" name="Oval 28"/>
          <p:cNvSpPr/>
          <p:nvPr/>
        </p:nvSpPr>
        <p:spPr>
          <a:xfrm>
            <a:off x="2706859" y="2228168"/>
            <a:ext cx="311727" cy="311727"/>
          </a:xfrm>
          <a:prstGeom prst="ellipse">
            <a:avLst/>
          </a:prstGeom>
          <a:solidFill>
            <a:srgbClr val="EBEBEB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31" name="Arc 30"/>
          <p:cNvSpPr/>
          <p:nvPr/>
        </p:nvSpPr>
        <p:spPr>
          <a:xfrm>
            <a:off x="-958230" y="2473918"/>
            <a:ext cx="1878955" cy="1948541"/>
          </a:xfrm>
          <a:prstGeom prst="arc">
            <a:avLst>
              <a:gd name="adj1" fmla="val 16200000"/>
              <a:gd name="adj2" fmla="val 5359794"/>
            </a:avLst>
          </a:prstGeom>
          <a:gradFill>
            <a:gsLst>
              <a:gs pos="0">
                <a:srgbClr val="03D4A8"/>
              </a:gs>
              <a:gs pos="25000">
                <a:srgbClr val="21D6E0"/>
              </a:gs>
              <a:gs pos="75000">
                <a:srgbClr val="0087E6"/>
              </a:gs>
              <a:gs pos="100000">
                <a:schemeClr val="bg1"/>
              </a:gs>
            </a:gsLst>
            <a:lin ang="540000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grpSp>
        <p:nvGrpSpPr>
          <p:cNvPr id="32" name="Group 24"/>
          <p:cNvGrpSpPr/>
          <p:nvPr/>
        </p:nvGrpSpPr>
        <p:grpSpPr>
          <a:xfrm rot="5400000">
            <a:off x="-2464443" y="3166879"/>
            <a:ext cx="5044675" cy="205650"/>
            <a:chOff x="-3200400" y="3314684"/>
            <a:chExt cx="6641693" cy="228617"/>
          </a:xfrm>
        </p:grpSpPr>
        <p:sp>
          <p:nvSpPr>
            <p:cNvPr id="33" name="Rounded Rectangle 32"/>
            <p:cNvSpPr/>
            <p:nvPr/>
          </p:nvSpPr>
          <p:spPr>
            <a:xfrm rot="5400000">
              <a:off x="1726784" y="1828793"/>
              <a:ext cx="228617" cy="3200400"/>
            </a:xfrm>
            <a:prstGeom prst="roundRect">
              <a:avLst>
                <a:gd name="adj" fmla="val 35051"/>
              </a:avLst>
            </a:prstGeom>
            <a:gradFill>
              <a:gsLst>
                <a:gs pos="0">
                  <a:srgbClr val="03D4A8"/>
                </a:gs>
                <a:gs pos="25000">
                  <a:srgbClr val="21D6E0"/>
                </a:gs>
                <a:gs pos="75000">
                  <a:srgbClr val="0087E6"/>
                </a:gs>
                <a:gs pos="100000">
                  <a:schemeClr val="bg1"/>
                </a:gs>
              </a:gsLst>
              <a:lin ang="5400000" scaled="0"/>
            </a:gradFill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prstMaterial="matte">
              <a:bevelT w="63500" h="63500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  <p:sp>
          <p:nvSpPr>
            <p:cNvPr id="34" name="Rounded Rectangle 33"/>
            <p:cNvSpPr/>
            <p:nvPr/>
          </p:nvSpPr>
          <p:spPr>
            <a:xfrm rot="5400000">
              <a:off x="-1714500" y="1828800"/>
              <a:ext cx="228600" cy="3200400"/>
            </a:xfrm>
            <a:prstGeom prst="roundRect">
              <a:avLst>
                <a:gd name="adj" fmla="val 35051"/>
              </a:avLst>
            </a:prstGeom>
            <a:noFill/>
            <a:ln>
              <a:noFill/>
            </a:ln>
            <a:effectLst>
              <a:outerShdw blurRad="107950" dist="12700" dir="5400000" algn="ctr">
                <a:srgbClr val="000000"/>
              </a:outerShdw>
            </a:effectLst>
            <a:scene3d>
              <a:camera prst="orthographicFront">
                <a:rot lat="0" lon="0" rev="0"/>
              </a:camera>
              <a:lightRig rig="soft" dir="t">
                <a:rot lat="0" lon="0" rev="0"/>
              </a:lightRig>
            </a:scene3d>
            <a:sp3d prstMaterial="matte">
              <a:bevelT w="63500" h="63500"/>
              <a:contourClr>
                <a:srgbClr val="FFFFFF"/>
              </a:contourClr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prstClr val="white"/>
                </a:solidFill>
              </a:endParaRPr>
            </a:p>
          </p:txBody>
        </p:sp>
      </p:grpSp>
      <p:sp>
        <p:nvSpPr>
          <p:cNvPr id="51" name="TextBox 50"/>
          <p:cNvSpPr txBox="1"/>
          <p:nvPr/>
        </p:nvSpPr>
        <p:spPr>
          <a:xfrm flipH="1">
            <a:off x="3285606" y="2169597"/>
            <a:ext cx="4122359" cy="147732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indent="0">
              <a:buNone/>
            </a:pPr>
            <a:r>
              <a:rPr lang="en-US" sz="1800" dirty="0"/>
              <a:t>Members: </a:t>
            </a:r>
            <a:r>
              <a:rPr lang="en-US" sz="1800" dirty="0" smtClean="0"/>
              <a:t>Kow </a:t>
            </a:r>
            <a:r>
              <a:rPr lang="en-US" sz="1800" dirty="0"/>
              <a:t>Mui Hiang</a:t>
            </a:r>
          </a:p>
          <a:p>
            <a:pPr>
              <a:buNone/>
            </a:pPr>
            <a:r>
              <a:rPr lang="en-US" sz="1800" dirty="0"/>
              <a:t>	</a:t>
            </a:r>
            <a:r>
              <a:rPr lang="en-US" sz="1800" dirty="0" smtClean="0"/>
              <a:t>   Rowena </a:t>
            </a:r>
            <a:r>
              <a:rPr lang="en-US" sz="1800" dirty="0"/>
              <a:t>Villamayor</a:t>
            </a:r>
          </a:p>
          <a:p>
            <a:pPr>
              <a:buNone/>
            </a:pPr>
            <a:r>
              <a:rPr lang="en-US" sz="1800" dirty="0"/>
              <a:t>	</a:t>
            </a:r>
            <a:r>
              <a:rPr lang="en-US" sz="1800" dirty="0" smtClean="0"/>
              <a:t>   Loo </a:t>
            </a:r>
            <a:r>
              <a:rPr lang="en-US" sz="1800" dirty="0"/>
              <a:t>Tee Hui</a:t>
            </a:r>
          </a:p>
          <a:p>
            <a:pPr lvl="0">
              <a:buNone/>
            </a:pPr>
            <a:r>
              <a:rPr lang="en-US" sz="1800" dirty="0"/>
              <a:t>	</a:t>
            </a:r>
            <a:r>
              <a:rPr lang="en-US" sz="1800" dirty="0" smtClean="0"/>
              <a:t>   A </a:t>
            </a:r>
            <a:r>
              <a:rPr lang="en-US" sz="1800" dirty="0"/>
              <a:t>Retnam Murualikaran </a:t>
            </a:r>
          </a:p>
          <a:p>
            <a:pPr lvl="0">
              <a:buNone/>
            </a:pPr>
            <a:r>
              <a:rPr lang="en-US" sz="1800" dirty="0"/>
              <a:t>                 </a:t>
            </a:r>
            <a:r>
              <a:rPr lang="en-US" sz="1800" dirty="0" smtClean="0"/>
              <a:t>Vivian </a:t>
            </a:r>
            <a:r>
              <a:rPr lang="en-US" sz="1800" dirty="0"/>
              <a:t>Ma Yan</a:t>
            </a:r>
          </a:p>
        </p:txBody>
      </p:sp>
      <p:sp>
        <p:nvSpPr>
          <p:cNvPr id="52" name="Oval 51"/>
          <p:cNvSpPr/>
          <p:nvPr/>
        </p:nvSpPr>
        <p:spPr>
          <a:xfrm>
            <a:off x="2759866" y="4338899"/>
            <a:ext cx="311727" cy="311727"/>
          </a:xfrm>
          <a:prstGeom prst="ellipse">
            <a:avLst/>
          </a:prstGeom>
          <a:solidFill>
            <a:srgbClr val="EBEBEB"/>
          </a:solidFill>
          <a:ln>
            <a:noFill/>
          </a:ln>
          <a:effectLst>
            <a:outerShdw blurRad="107950" dist="12700" dir="5400000" algn="ctr">
              <a:srgbClr val="000000"/>
            </a:outerShdw>
          </a:effectLst>
          <a:scene3d>
            <a:camera prst="orthographicFront">
              <a:rot lat="0" lon="0" rev="0"/>
            </a:camera>
            <a:lightRig rig="soft" dir="t">
              <a:rot lat="0" lon="0" rev="0"/>
            </a:lightRig>
          </a:scene3d>
          <a:sp3d contourW="44450" prstMaterial="matte">
            <a:bevelT w="63500" h="63500" prst="artDeco"/>
            <a:contourClr>
              <a:srgbClr val="FFFFFF"/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 xmlns="">
                  <a14:imgLayer r:embed="rId6">
                    <a14:imgEffect>
                      <a14:backgroundRemoval t="0" b="100000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232520" y="5111530"/>
            <a:ext cx="4702015" cy="1123950"/>
          </a:xfrm>
          <a:prstGeom prst="rect">
            <a:avLst/>
          </a:prstGeom>
        </p:spPr>
      </p:pic>
      <p:sp>
        <p:nvSpPr>
          <p:cNvPr id="2" name="Rectangle 1"/>
          <p:cNvSpPr/>
          <p:nvPr/>
        </p:nvSpPr>
        <p:spPr>
          <a:xfrm>
            <a:off x="4123755" y="824877"/>
            <a:ext cx="459773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lvl="0" indent="0">
              <a:buNone/>
            </a:pPr>
            <a:r>
              <a:rPr lang="en-US" sz="2800" b="1" dirty="0">
                <a:solidFill>
                  <a:schemeClr val="accent2">
                    <a:lumMod val="75000"/>
                  </a:schemeClr>
                </a:solidFill>
              </a:rPr>
              <a:t>Singapore</a:t>
            </a:r>
            <a:r>
              <a:rPr lang="en-US" sz="2800" dirty="0"/>
              <a:t> </a:t>
            </a:r>
            <a:r>
              <a:rPr lang="en-US" sz="2800" b="1" noProof="1">
                <a:solidFill>
                  <a:schemeClr val="accent2">
                    <a:lumMod val="75000"/>
                  </a:schemeClr>
                </a:solidFill>
              </a:rPr>
              <a:t>Submarine 577</a:t>
            </a:r>
            <a:endParaRPr lang="en-US" sz="2800" b="1" dirty="0"/>
          </a:p>
        </p:txBody>
      </p:sp>
    </p:spTree>
    <p:extLst>
      <p:ext uri="{BB962C8B-B14F-4D97-AF65-F5344CB8AC3E}">
        <p14:creationId xmlns:p14="http://schemas.microsoft.com/office/powerpoint/2010/main" xmlns="" val="19679024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8100000">
                                      <p:cBhvr>
                                        <p:cTn id="6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  <p:subTnLst>
                                    <p:animClr clrSpc="rgb" dir="cw">
                                      <p:cBhvr override="childStyle">
                                        <p:cTn dur="1" fill="hold" display="0" masterRel="nextClick" afterEffect="1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c</p:attrName>
                                        </p:attrNameLst>
                                      </p:cBhvr>
                                      <p:to>
                                        <a:schemeClr val="bg1"/>
                                      </p:to>
                                    </p:animClr>
                                  </p:subTnLst>
                                </p:cTn>
                              </p:par>
                              <p:par>
                                <p:cTn id="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11" dur="3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chemeClr val="accent2"/>
                                      </p:to>
                                    </p:animClr>
                                    <p:set>
                                      <p:cBhvr>
                                        <p:cTn id="12" dur="3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13" dur="3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53" presetClass="entr" presetSubtype="16" fill="hold" grpId="1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25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25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750"/>
                            </p:stCondLst>
                            <p:childTnLst>
                              <p:par>
                                <p:cTn id="24" presetID="6" presetClass="emph" presetSubtype="0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25" dur="25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by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27" presetClass="emph" presetSubtype="0" fill="remove" grpId="0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 override="childStyle">
                                        <p:cTn id="28" dur="125" autoRev="1" fill="remove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color</p:attrName>
                                        </p:attrNameLst>
                                      </p:cBhvr>
                                      <p:to>
                                        <a:srgbClr val="66FF33"/>
                                      </p:to>
                                    </p:animClr>
                                    <p:animClr clrSpc="rgb" dir="cw">
                                      <p:cBhvr>
                                        <p:cTn id="29" dur="125" autoRev="1" fill="remove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66FF33"/>
                                      </p:to>
                                    </p:animClr>
                                    <p:set>
                                      <p:cBhvr>
                                        <p:cTn id="30" dur="125" autoRev="1" fill="remove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31" dur="125" autoRev="1" fill="remove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2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900000">
                                      <p:cBhvr>
                                        <p:cTn id="33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250"/>
                            </p:stCondLst>
                            <p:childTnLst>
                              <p:par>
                                <p:cTn id="3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25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1500"/>
                            </p:stCondLst>
                            <p:childTnLst>
                              <p:par>
                                <p:cTn id="39" presetID="1" presetClass="emph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40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992C96"/>
                                      </p:to>
                                    </p:animClr>
                                    <p:set>
                                      <p:cBhvr>
                                        <p:cTn id="41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42" dur="25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900000">
                                      <p:cBhvr>
                                        <p:cTn id="4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52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992C96"/>
                                      </p:to>
                                    </p:animClr>
                                    <p:set>
                                      <p:cBhvr>
                                        <p:cTn id="53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54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400000">
                                      <p:cBhvr>
                                        <p:cTn id="5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" presetClass="emph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Clr clrSpc="rgb" dir="cw">
                                      <p:cBhvr>
                                        <p:cTn id="64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color</p:attrName>
                                        </p:attrNameLst>
                                      </p:cBhvr>
                                      <p:to>
                                        <a:srgbClr val="992C96"/>
                                      </p:to>
                                    </p:animClr>
                                    <p:set>
                                      <p:cBhvr>
                                        <p:cTn id="6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.type</p:attrName>
                                        </p:attrNameLst>
                                      </p:cBhvr>
                                      <p:to>
                                        <p:strVal val="solid"/>
                                      </p:to>
                                    </p:set>
                                    <p:set>
                                      <p:cBhvr>
                                        <p:cTn id="66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fill.on</p:attrName>
                                        </p:attrNameLst>
                                      </p:cBhvr>
                                      <p:to>
                                        <p:strVal val="tru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2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3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4" grpId="0"/>
      <p:bldP spid="26" grpId="0"/>
      <p:bldP spid="27" grpId="0" animBg="1"/>
      <p:bldP spid="28" grpId="0" animBg="1"/>
      <p:bldP spid="29" grpId="0" animBg="1"/>
      <p:bldP spid="51" grpId="0"/>
      <p:bldP spid="52" grpId="0" animBg="1"/>
      <p:bldP spid="2" grpId="0" build="allAtOnce"/>
      <p:bldP spid="2" grpId="1" build="allAtOnce"/>
      <p:bldP spid="2" grpId="2" build="allAtOnce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 flipH="1">
            <a:off x="-5" y="1621970"/>
            <a:ext cx="3436887" cy="298156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8" name="Rectangle 7"/>
          <p:cNvSpPr/>
          <p:nvPr/>
        </p:nvSpPr>
        <p:spPr>
          <a:xfrm>
            <a:off x="1608082" y="464196"/>
            <a:ext cx="1828800" cy="6400800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xmlns="" val="1210505638"/>
              </p:ext>
            </p:extLst>
          </p:nvPr>
        </p:nvGraphicFramePr>
        <p:xfrm>
          <a:off x="2295816" y="1749430"/>
          <a:ext cx="4792465" cy="504622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 xmlns="">
                  <a14:imgLayer r:embed="rId11">
                    <a14:imgEffect>
                      <a14:backgroundRemoval t="0" b="100000" l="0" r="9765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189441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1" name="Group 10"/>
          <p:cNvGrpSpPr/>
          <p:nvPr/>
        </p:nvGrpSpPr>
        <p:grpSpPr>
          <a:xfrm>
            <a:off x="0" y="996165"/>
            <a:ext cx="9144000" cy="428862"/>
            <a:chOff x="0" y="56032"/>
            <a:chExt cx="9144000" cy="271897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2" name="Rectangle 11"/>
            <p:cNvSpPr/>
            <p:nvPr/>
          </p:nvSpPr>
          <p:spPr>
            <a:xfrm>
              <a:off x="0" y="56032"/>
              <a:ext cx="9144000" cy="271897"/>
            </a:xfrm>
            <a:prstGeom prst="rect">
              <a:avLst/>
            </a:prstGeom>
            <a:sp3d prstMaterial="plastic">
              <a:bevelT w="127000" h="25400" prst="relaxedInset"/>
              <a:bevelB w="88900" h="121750" prst="angle"/>
            </a:sp3d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shade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shade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Rectangle 12"/>
            <p:cNvSpPr/>
            <p:nvPr/>
          </p:nvSpPr>
          <p:spPr>
            <a:xfrm>
              <a:off x="0" y="56032"/>
              <a:ext cx="9144000" cy="27189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lvl="0" algn="ctr"/>
              <a:r>
                <a:rPr lang="en-US" b="1" dirty="0"/>
                <a:t>Potable Water Conservation </a:t>
              </a:r>
              <a:r>
                <a:rPr lang="en-US" b="1" dirty="0" smtClean="0"/>
                <a:t>in Washroom and Cafeteria</a:t>
              </a:r>
              <a:endParaRPr lang="en-US" b="1" dirty="0"/>
            </a:p>
          </p:txBody>
        </p:sp>
      </p:grpSp>
      <p:sp>
        <p:nvSpPr>
          <p:cNvPr id="14" name="Title 1"/>
          <p:cNvSpPr txBox="1">
            <a:spLocks/>
          </p:cNvSpPr>
          <p:nvPr/>
        </p:nvSpPr>
        <p:spPr>
          <a:xfrm>
            <a:off x="993594" y="378432"/>
            <a:ext cx="5120604" cy="41717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US" dirty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Project Implementation </a:t>
            </a:r>
            <a:r>
              <a:rPr lang="en-US" dirty="0" smtClean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-5 </a:t>
            </a:r>
            <a:r>
              <a:rPr lang="en-US" dirty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of </a:t>
            </a:r>
            <a:r>
              <a:rPr lang="en-US" dirty="0" smtClean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6</a:t>
            </a:r>
            <a:endParaRPr lang="en-US" dirty="0">
              <a:solidFill>
                <a:srgbClr val="2875CA"/>
              </a:solidFill>
              <a:latin typeface="Britannic Bold" pitchFamily="34" charset="0"/>
              <a:ea typeface="+mj-ea"/>
              <a:cs typeface="+mj-cs"/>
            </a:endParaRPr>
          </a:p>
        </p:txBody>
      </p:sp>
      <p:grpSp>
        <p:nvGrpSpPr>
          <p:cNvPr id="20" name="Group 19"/>
          <p:cNvGrpSpPr/>
          <p:nvPr/>
        </p:nvGrpSpPr>
        <p:grpSpPr>
          <a:xfrm rot="264182">
            <a:off x="86596" y="91470"/>
            <a:ext cx="777240" cy="777240"/>
            <a:chOff x="3728638" y="1092389"/>
            <a:chExt cx="914400" cy="914400"/>
          </a:xfrm>
        </p:grpSpPr>
        <p:grpSp>
          <p:nvGrpSpPr>
            <p:cNvPr id="21" name="Group 20"/>
            <p:cNvGrpSpPr/>
            <p:nvPr/>
          </p:nvGrpSpPr>
          <p:grpSpPr>
            <a:xfrm>
              <a:off x="3728638" y="1092389"/>
              <a:ext cx="914400" cy="914400"/>
              <a:chOff x="2378075" y="502896"/>
              <a:chExt cx="2066925" cy="2066925"/>
            </a:xfrm>
          </p:grpSpPr>
          <p:grpSp>
            <p:nvGrpSpPr>
              <p:cNvPr id="23" name="Group 28"/>
              <p:cNvGrpSpPr>
                <a:grpSpLocks/>
              </p:cNvGrpSpPr>
              <p:nvPr/>
            </p:nvGrpSpPr>
            <p:grpSpPr bwMode="auto">
              <a:xfrm>
                <a:off x="2378075" y="502896"/>
                <a:ext cx="2066925" cy="2066925"/>
                <a:chOff x="2333625" y="219075"/>
                <a:chExt cx="2066236" cy="2066236"/>
              </a:xfrm>
            </p:grpSpPr>
            <p:grpSp>
              <p:nvGrpSpPr>
                <p:cNvPr id="29" name="Group 154"/>
                <p:cNvGrpSpPr>
                  <a:grpSpLocks/>
                </p:cNvGrpSpPr>
                <p:nvPr/>
              </p:nvGrpSpPr>
              <p:grpSpPr bwMode="auto">
                <a:xfrm>
                  <a:off x="2333625" y="219075"/>
                  <a:ext cx="2066236" cy="2066236"/>
                  <a:chOff x="2844111" y="1118742"/>
                  <a:chExt cx="3508375" cy="3508375"/>
                </a:xfrm>
              </p:grpSpPr>
              <p:sp>
                <p:nvSpPr>
                  <p:cNvPr id="31" name="Freeform 6"/>
                  <p:cNvSpPr>
                    <a:spLocks noEditPoints="1"/>
                  </p:cNvSpPr>
                  <p:nvPr>
                    <p:custDataLst>
                      <p:tags r:id="rId1"/>
                    </p:custDataLst>
                  </p:nvPr>
                </p:nvSpPr>
                <p:spPr bwMode="gray">
                  <a:xfrm rot="3600000">
                    <a:off x="2844111" y="1118742"/>
                    <a:ext cx="3508375" cy="3508375"/>
                  </a:xfrm>
                  <a:custGeom>
                    <a:avLst/>
                    <a:gdLst/>
                    <a:ahLst/>
                    <a:cxnLst>
                      <a:cxn ang="0">
                        <a:pos x="292" y="0"/>
                      </a:cxn>
                      <a:cxn ang="0">
                        <a:pos x="0" y="293"/>
                      </a:cxn>
                      <a:cxn ang="0">
                        <a:pos x="292" y="585"/>
                      </a:cxn>
                      <a:cxn ang="0">
                        <a:pos x="585" y="293"/>
                      </a:cxn>
                      <a:cxn ang="0">
                        <a:pos x="292" y="0"/>
                      </a:cxn>
                      <a:cxn ang="0">
                        <a:pos x="292" y="539"/>
                      </a:cxn>
                      <a:cxn ang="0">
                        <a:pos x="46" y="293"/>
                      </a:cxn>
                      <a:cxn ang="0">
                        <a:pos x="292" y="46"/>
                      </a:cxn>
                      <a:cxn ang="0">
                        <a:pos x="539" y="293"/>
                      </a:cxn>
                      <a:cxn ang="0">
                        <a:pos x="292" y="539"/>
                      </a:cxn>
                    </a:cxnLst>
                    <a:rect l="0" t="0" r="r" b="b"/>
                    <a:pathLst>
                      <a:path w="585" h="585">
                        <a:moveTo>
                          <a:pt x="292" y="0"/>
                        </a:moveTo>
                        <a:cubicBezTo>
                          <a:pt x="131" y="0"/>
                          <a:pt x="0" y="131"/>
                          <a:pt x="0" y="293"/>
                        </a:cubicBezTo>
                        <a:cubicBezTo>
                          <a:pt x="0" y="454"/>
                          <a:pt x="131" y="585"/>
                          <a:pt x="292" y="585"/>
                        </a:cubicBezTo>
                        <a:cubicBezTo>
                          <a:pt x="454" y="585"/>
                          <a:pt x="585" y="454"/>
                          <a:pt x="585" y="293"/>
                        </a:cubicBezTo>
                        <a:cubicBezTo>
                          <a:pt x="585" y="131"/>
                          <a:pt x="454" y="0"/>
                          <a:pt x="292" y="0"/>
                        </a:cubicBezTo>
                        <a:close/>
                        <a:moveTo>
                          <a:pt x="292" y="539"/>
                        </a:moveTo>
                        <a:cubicBezTo>
                          <a:pt x="156" y="539"/>
                          <a:pt x="46" y="429"/>
                          <a:pt x="46" y="293"/>
                        </a:cubicBezTo>
                        <a:cubicBezTo>
                          <a:pt x="46" y="156"/>
                          <a:pt x="156" y="46"/>
                          <a:pt x="292" y="46"/>
                        </a:cubicBezTo>
                        <a:cubicBezTo>
                          <a:pt x="429" y="46"/>
                          <a:pt x="539" y="156"/>
                          <a:pt x="539" y="293"/>
                        </a:cubicBezTo>
                        <a:cubicBezTo>
                          <a:pt x="539" y="429"/>
                          <a:pt x="429" y="539"/>
                          <a:pt x="292" y="539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4"/>
                  </a:lnRef>
                  <a:fillRef idx="3">
                    <a:schemeClr val="accent4"/>
                  </a:fillRef>
                  <a:effectRef idx="3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sz="900"/>
                  </a:p>
                </p:txBody>
              </p:sp>
              <p:sp>
                <p:nvSpPr>
                  <p:cNvPr id="32" name="Ellipse 12"/>
                  <p:cNvSpPr>
                    <a:spLocks noChangeArrowheads="1"/>
                  </p:cNvSpPr>
                  <p:nvPr/>
                </p:nvSpPr>
                <p:spPr bwMode="auto">
                  <a:xfrm>
                    <a:off x="3948899" y="2247780"/>
                    <a:ext cx="1279938" cy="127993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353637"/>
                      </a:gs>
                      <a:gs pos="100000">
                        <a:srgbClr val="151616"/>
                      </a:gs>
                    </a:gsLst>
                    <a:path path="shape">
                      <a:fillToRect l="50000" t="50000" r="50000" b="50000"/>
                    </a:path>
                  </a:gradFill>
                  <a:ln w="9525">
                    <a:solidFill>
                      <a:srgbClr val="191919"/>
                    </a:solidFill>
                    <a:round/>
                    <a:headEnd/>
                    <a:tailEnd/>
                  </a:ln>
                  <a:effectLst>
                    <a:outerShdw dist="23000" dir="5400000" rotWithShape="0">
                      <a:srgbClr val="808080">
                        <a:alpha val="34999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latin typeface="Calibri" charset="0"/>
                    </a:endParaRPr>
                  </a:p>
                </p:txBody>
              </p:sp>
              <p:sp>
                <p:nvSpPr>
                  <p:cNvPr id="33" name="Ellipse 13"/>
                  <p:cNvSpPr/>
                  <p:nvPr/>
                </p:nvSpPr>
                <p:spPr bwMode="auto">
                  <a:xfrm>
                    <a:off x="4118660" y="2304368"/>
                    <a:ext cx="940416" cy="692512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tx2">
                          <a:lumMod val="40000"/>
                          <a:lumOff val="60000"/>
                          <a:alpha val="0"/>
                        </a:schemeClr>
                      </a:gs>
                      <a:gs pos="100000">
                        <a:schemeClr val="bg1">
                          <a:alpha val="77000"/>
                        </a:schemeClr>
                      </a:gs>
                    </a:gsLst>
                    <a:lin ang="162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ea typeface="ＭＳ Ｐゴシック" charset="-128"/>
                    </a:endParaRPr>
                  </a:p>
                </p:txBody>
              </p:sp>
              <p:sp>
                <p:nvSpPr>
                  <p:cNvPr id="34" name="Block Arc 33"/>
                  <p:cNvSpPr/>
                  <p:nvPr/>
                </p:nvSpPr>
                <p:spPr>
                  <a:xfrm rot="18729919">
                    <a:off x="3230788" y="1508111"/>
                    <a:ext cx="2726940" cy="2729633"/>
                  </a:xfrm>
                  <a:prstGeom prst="blockArc">
                    <a:avLst>
                      <a:gd name="adj1" fmla="val 574634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900"/>
                  </a:p>
                </p:txBody>
              </p:sp>
              <p:sp>
                <p:nvSpPr>
                  <p:cNvPr id="35" name="Block Arc 34"/>
                  <p:cNvSpPr/>
                  <p:nvPr/>
                </p:nvSpPr>
                <p:spPr>
                  <a:xfrm rot="1352524">
                    <a:off x="3229440" y="1509459"/>
                    <a:ext cx="2729633" cy="2726940"/>
                  </a:xfrm>
                  <a:prstGeom prst="blockArc">
                    <a:avLst>
                      <a:gd name="adj1" fmla="val 596470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36" name="Block Arc 35"/>
                  <p:cNvSpPr/>
                  <p:nvPr/>
                </p:nvSpPr>
                <p:spPr>
                  <a:xfrm rot="5869595">
                    <a:off x="3230788" y="1508111"/>
                    <a:ext cx="2726940" cy="2729633"/>
                  </a:xfrm>
                  <a:prstGeom prst="blockArc">
                    <a:avLst>
                      <a:gd name="adj1" fmla="val 5627424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37" name="Block Arc 36"/>
                  <p:cNvSpPr/>
                  <p:nvPr/>
                </p:nvSpPr>
                <p:spPr>
                  <a:xfrm rot="10291675">
                    <a:off x="3229440" y="1509459"/>
                    <a:ext cx="2729633" cy="2726940"/>
                  </a:xfrm>
                  <a:prstGeom prst="blockArc">
                    <a:avLst>
                      <a:gd name="adj1" fmla="val 5803831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38" name="Block Arc 37"/>
                  <p:cNvSpPr/>
                  <p:nvPr/>
                </p:nvSpPr>
                <p:spPr>
                  <a:xfrm rot="14301489">
                    <a:off x="3230788" y="1508111"/>
                    <a:ext cx="2726940" cy="2729633"/>
                  </a:xfrm>
                  <a:prstGeom prst="blockArc">
                    <a:avLst>
                      <a:gd name="adj1" fmla="val 6140645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</p:grpSp>
            <p:sp>
              <p:nvSpPr>
                <p:cNvPr id="30" name="Ellipse 15"/>
                <p:cNvSpPr/>
                <p:nvPr/>
              </p:nvSpPr>
              <p:spPr bwMode="auto">
                <a:xfrm>
                  <a:off x="2763695" y="465055"/>
                  <a:ext cx="1237837" cy="91568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900" dirty="0"/>
                </a:p>
              </p:txBody>
            </p:sp>
          </p:grpSp>
          <p:sp>
            <p:nvSpPr>
              <p:cNvPr id="24" name="TextBox 29"/>
              <p:cNvSpPr txBox="1">
                <a:spLocks noChangeArrowheads="1"/>
              </p:cNvSpPr>
              <p:nvPr/>
            </p:nvSpPr>
            <p:spPr bwMode="auto">
              <a:xfrm>
                <a:off x="2754110" y="771753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D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25" name="TextBox 29"/>
              <p:cNvSpPr txBox="1">
                <a:spLocks noChangeArrowheads="1"/>
              </p:cNvSpPr>
              <p:nvPr/>
            </p:nvSpPr>
            <p:spPr bwMode="auto">
              <a:xfrm>
                <a:off x="2584640" y="1514847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M</a:t>
                </a:r>
              </a:p>
            </p:txBody>
          </p:sp>
          <p:sp>
            <p:nvSpPr>
              <p:cNvPr id="26" name="TextBox 29"/>
              <p:cNvSpPr txBox="1">
                <a:spLocks noChangeArrowheads="1"/>
              </p:cNvSpPr>
              <p:nvPr/>
            </p:nvSpPr>
            <p:spPr bwMode="auto">
              <a:xfrm>
                <a:off x="3253164" y="1880209"/>
                <a:ext cx="289718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A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27" name="TextBox 29"/>
              <p:cNvSpPr txBox="1">
                <a:spLocks noChangeArrowheads="1"/>
              </p:cNvSpPr>
              <p:nvPr/>
            </p:nvSpPr>
            <p:spPr bwMode="auto">
              <a:xfrm>
                <a:off x="3844923" y="13567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I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28" name="TextBox 29"/>
              <p:cNvSpPr txBox="1">
                <a:spLocks noChangeArrowheads="1"/>
              </p:cNvSpPr>
              <p:nvPr/>
            </p:nvSpPr>
            <p:spPr bwMode="auto">
              <a:xfrm>
                <a:off x="3487620" y="7158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C</a:t>
                </a:r>
              </a:p>
            </p:txBody>
          </p:sp>
        </p:grpSp>
        <p:sp>
          <p:nvSpPr>
            <p:cNvPr id="22" name="TextBox 29"/>
            <p:cNvSpPr txBox="1">
              <a:spLocks noChangeArrowheads="1"/>
            </p:cNvSpPr>
            <p:nvPr/>
          </p:nvSpPr>
          <p:spPr bwMode="auto">
            <a:xfrm rot="21335818">
              <a:off x="4093795" y="1350066"/>
              <a:ext cx="128171" cy="398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da-DK" sz="1600" b="1" dirty="0" smtClean="0">
                  <a:solidFill>
                    <a:schemeClr val="bg1"/>
                  </a:solidFill>
                </a:rPr>
                <a:t>I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40" name="Picture 2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7267484" y="1621970"/>
            <a:ext cx="1829218" cy="234399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1" name="Picture 3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198640" y="4272543"/>
            <a:ext cx="1882467" cy="234969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xmlns="" val="16921316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" name="Picture 2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4936"/>
          <a:stretch/>
        </p:blipFill>
        <p:spPr>
          <a:xfrm>
            <a:off x="-3420" y="4918726"/>
            <a:ext cx="9144000" cy="1939274"/>
          </a:xfrm>
          <a:prstGeom prst="rect">
            <a:avLst/>
          </a:prstGeom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91470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1" name="Group 10"/>
          <p:cNvGrpSpPr/>
          <p:nvPr/>
        </p:nvGrpSpPr>
        <p:grpSpPr>
          <a:xfrm>
            <a:off x="-328" y="966511"/>
            <a:ext cx="9144000" cy="556968"/>
            <a:chOff x="0" y="0"/>
            <a:chExt cx="9144000" cy="556968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2" name="Rectangle 11"/>
            <p:cNvSpPr/>
            <p:nvPr/>
          </p:nvSpPr>
          <p:spPr>
            <a:xfrm>
              <a:off x="0" y="0"/>
              <a:ext cx="9144000" cy="556968"/>
            </a:xfrm>
            <a:prstGeom prst="rect">
              <a:avLst/>
            </a:prstGeom>
            <a:sp3d prstMaterial="plastic">
              <a:bevelT w="127000" h="25400" prst="relaxedInset"/>
              <a:bevelB w="88900" h="121750" prst="angle"/>
            </a:sp3d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shade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shade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Rectangle 12"/>
            <p:cNvSpPr/>
            <p:nvPr/>
          </p:nvSpPr>
          <p:spPr>
            <a:xfrm>
              <a:off x="0" y="0"/>
              <a:ext cx="9144000" cy="55696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Aft>
                  <a:spcPct val="35000"/>
                </a:spcAft>
              </a:pPr>
              <a:r>
                <a:rPr lang="en-US" b="1" dirty="0" smtClean="0"/>
                <a:t>Communication of Water Conservation Program</a:t>
              </a:r>
              <a:endParaRPr lang="en-US" b="1" kern="1200" dirty="0"/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8198" t="8794" r="8815" b="11160"/>
          <a:stretch/>
        </p:blipFill>
        <p:spPr>
          <a:xfrm>
            <a:off x="210391" y="1884970"/>
            <a:ext cx="2306336" cy="1622827"/>
          </a:xfrm>
          <a:prstGeom prst="rect">
            <a:avLst/>
          </a:prstGeom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sp>
        <p:nvSpPr>
          <p:cNvPr id="29" name="Rectangle 28"/>
          <p:cNvSpPr/>
          <p:nvPr/>
        </p:nvSpPr>
        <p:spPr>
          <a:xfrm>
            <a:off x="210391" y="5024775"/>
            <a:ext cx="2544685" cy="646331"/>
          </a:xfrm>
          <a:prstGeom prst="rect">
            <a:avLst/>
          </a:prstGeom>
          <a:ln>
            <a:noFill/>
          </a:ln>
          <a:effectLst>
            <a:outerShdw blurRad="225425" dist="50800" dir="5220000" algn="ctr">
              <a:srgbClr val="000000">
                <a:alpha val="33000"/>
              </a:srgbClr>
            </a:outerShdw>
            <a:reflection blurRad="6350" stA="50000" endA="300" endPos="55000" dir="5400000" sy="-100000" algn="bl" rotWithShape="0"/>
          </a:effectLst>
          <a:scene3d>
            <a:camera prst="perspectiveFront" fov="3300000">
              <a:rot lat="486000" lon="19530000" rev="174000"/>
            </a:camera>
            <a:lightRig rig="harsh" dir="t">
              <a:rot lat="0" lon="0" rev="3000000"/>
            </a:lightRig>
          </a:scene3d>
          <a:sp3d extrusionH="254000" contourW="19050">
            <a:bevelT w="82550" h="44450" prst="angle"/>
            <a:bevelB w="82550" h="44450" prst="angle"/>
            <a:contourClr>
              <a:srgbClr val="FFFFFF"/>
            </a:contourClr>
          </a:sp3d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wrap="square">
            <a:spAutoFit/>
          </a:bodyPr>
          <a:lstStyle/>
          <a:p>
            <a:pPr algn="ctr"/>
            <a:r>
              <a:rPr lang="en-US" sz="3600" dirty="0" smtClean="0"/>
              <a:t>Feedback</a:t>
            </a:r>
            <a:endParaRPr lang="en-US" sz="3600" dirty="0"/>
          </a:p>
        </p:txBody>
      </p:sp>
      <p:sp>
        <p:nvSpPr>
          <p:cNvPr id="3" name="Rectangle 2"/>
          <p:cNvSpPr/>
          <p:nvPr/>
        </p:nvSpPr>
        <p:spPr>
          <a:xfrm>
            <a:off x="2481943" y="4924747"/>
            <a:ext cx="4275117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 encourage feedback </a:t>
            </a:r>
            <a:r>
              <a:rPr lang="en-US" sz="14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n </a:t>
            </a:r>
            <a: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ater Conservation.</a:t>
            </a:r>
          </a:p>
          <a:p>
            <a:pPr algn="ctr"/>
            <a:endParaRPr lang="en-US" sz="1400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/>
            <a:r>
              <a:rPr lang="en-US" sz="14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fforts help to enhance the awareness of water conservation &amp; environmental sustainability.</a:t>
            </a:r>
            <a:endParaRPr lang="en-US" sz="14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5" name="Picture 2" descr="C:\Documents and Settings\sgg10785\My Documents\My Pictures\EHS1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142937" y="1638278"/>
            <a:ext cx="1628592" cy="109028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16" name="Picture 1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445477" y="1640850"/>
            <a:ext cx="1626919" cy="1085143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17" name="Rectangle 16"/>
          <p:cNvSpPr/>
          <p:nvPr/>
        </p:nvSpPr>
        <p:spPr>
          <a:xfrm>
            <a:off x="127262" y="3998214"/>
            <a:ext cx="2280061" cy="400110"/>
          </a:xfrm>
          <a:prstGeom prst="rect">
            <a:avLst/>
          </a:prstGeom>
          <a:effectLst>
            <a:glow rad="2286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/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raining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2962896" y="4243265"/>
            <a:ext cx="2576949" cy="400110"/>
          </a:xfrm>
          <a:prstGeom prst="rect">
            <a:avLst/>
          </a:prstGeom>
          <a:effectLst>
            <a:glow rad="2286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r>
              <a:rPr lang="en-US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nnual EHS Carnival</a:t>
            </a:r>
            <a:endParaRPr lang="en-US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3" name="Picture 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2407434" y="2974900"/>
            <a:ext cx="1626919" cy="108461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4" name="Rectangle 23"/>
          <p:cNvSpPr/>
          <p:nvPr/>
        </p:nvSpPr>
        <p:spPr>
          <a:xfrm>
            <a:off x="3744551" y="2610415"/>
            <a:ext cx="749583" cy="400110"/>
          </a:xfrm>
          <a:prstGeom prst="rect">
            <a:avLst/>
          </a:prstGeom>
          <a:effectLst>
            <a:glow rad="2286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2</a:t>
            </a:r>
            <a:endParaRPr lang="en-US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6" name="Picture 1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 bwMode="auto">
          <a:xfrm>
            <a:off x="4164368" y="2974900"/>
            <a:ext cx="1626918" cy="1084612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7" name="Rectangle 26"/>
          <p:cNvSpPr/>
          <p:nvPr/>
        </p:nvSpPr>
        <p:spPr>
          <a:xfrm>
            <a:off x="3744552" y="3937398"/>
            <a:ext cx="749583" cy="400110"/>
          </a:xfrm>
          <a:prstGeom prst="rect">
            <a:avLst/>
          </a:prstGeom>
          <a:effectLst>
            <a:glow rad="2286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3</a:t>
            </a:r>
            <a:endParaRPr lang="en-US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8" name="Title 1"/>
          <p:cNvSpPr txBox="1">
            <a:spLocks/>
          </p:cNvSpPr>
          <p:nvPr/>
        </p:nvSpPr>
        <p:spPr>
          <a:xfrm>
            <a:off x="984409" y="391951"/>
            <a:ext cx="5003781" cy="41717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US" dirty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Project Implementation </a:t>
            </a:r>
            <a:r>
              <a:rPr lang="en-US" dirty="0" smtClean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- 6 </a:t>
            </a:r>
            <a:r>
              <a:rPr lang="en-US" dirty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of </a:t>
            </a:r>
            <a:r>
              <a:rPr lang="en-US" dirty="0" smtClean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6</a:t>
            </a:r>
            <a:endParaRPr lang="en-US" dirty="0">
              <a:solidFill>
                <a:srgbClr val="2875CA"/>
              </a:solidFill>
              <a:latin typeface="Britannic Bold" pitchFamily="34" charset="0"/>
              <a:ea typeface="+mj-ea"/>
              <a:cs typeface="+mj-cs"/>
            </a:endParaRPr>
          </a:p>
        </p:txBody>
      </p:sp>
      <p:grpSp>
        <p:nvGrpSpPr>
          <p:cNvPr id="36" name="Group 35"/>
          <p:cNvGrpSpPr/>
          <p:nvPr/>
        </p:nvGrpSpPr>
        <p:grpSpPr>
          <a:xfrm rot="264182">
            <a:off x="86596" y="91470"/>
            <a:ext cx="777240" cy="777240"/>
            <a:chOff x="3728638" y="1092389"/>
            <a:chExt cx="914400" cy="914400"/>
          </a:xfrm>
        </p:grpSpPr>
        <p:grpSp>
          <p:nvGrpSpPr>
            <p:cNvPr id="37" name="Group 36"/>
            <p:cNvGrpSpPr/>
            <p:nvPr/>
          </p:nvGrpSpPr>
          <p:grpSpPr>
            <a:xfrm>
              <a:off x="3728638" y="1092389"/>
              <a:ext cx="914400" cy="914400"/>
              <a:chOff x="2378075" y="502896"/>
              <a:chExt cx="2066925" cy="2066925"/>
            </a:xfrm>
          </p:grpSpPr>
          <p:grpSp>
            <p:nvGrpSpPr>
              <p:cNvPr id="39" name="Group 28"/>
              <p:cNvGrpSpPr>
                <a:grpSpLocks/>
              </p:cNvGrpSpPr>
              <p:nvPr/>
            </p:nvGrpSpPr>
            <p:grpSpPr bwMode="auto">
              <a:xfrm>
                <a:off x="2378075" y="502896"/>
                <a:ext cx="2066925" cy="2066925"/>
                <a:chOff x="2333625" y="219075"/>
                <a:chExt cx="2066236" cy="2066236"/>
              </a:xfrm>
            </p:grpSpPr>
            <p:grpSp>
              <p:nvGrpSpPr>
                <p:cNvPr id="45" name="Group 154"/>
                <p:cNvGrpSpPr>
                  <a:grpSpLocks/>
                </p:cNvGrpSpPr>
                <p:nvPr/>
              </p:nvGrpSpPr>
              <p:grpSpPr bwMode="auto">
                <a:xfrm>
                  <a:off x="2333625" y="219075"/>
                  <a:ext cx="2066236" cy="2066236"/>
                  <a:chOff x="2844111" y="1118742"/>
                  <a:chExt cx="3508375" cy="3508375"/>
                </a:xfrm>
              </p:grpSpPr>
              <p:sp>
                <p:nvSpPr>
                  <p:cNvPr id="47" name="Freeform 6"/>
                  <p:cNvSpPr>
                    <a:spLocks noEditPoints="1"/>
                  </p:cNvSpPr>
                  <p:nvPr>
                    <p:custDataLst>
                      <p:tags r:id="rId1"/>
                    </p:custDataLst>
                  </p:nvPr>
                </p:nvSpPr>
                <p:spPr bwMode="gray">
                  <a:xfrm rot="3600000">
                    <a:off x="2844111" y="1118742"/>
                    <a:ext cx="3508375" cy="3508375"/>
                  </a:xfrm>
                  <a:custGeom>
                    <a:avLst/>
                    <a:gdLst/>
                    <a:ahLst/>
                    <a:cxnLst>
                      <a:cxn ang="0">
                        <a:pos x="292" y="0"/>
                      </a:cxn>
                      <a:cxn ang="0">
                        <a:pos x="0" y="293"/>
                      </a:cxn>
                      <a:cxn ang="0">
                        <a:pos x="292" y="585"/>
                      </a:cxn>
                      <a:cxn ang="0">
                        <a:pos x="585" y="293"/>
                      </a:cxn>
                      <a:cxn ang="0">
                        <a:pos x="292" y="0"/>
                      </a:cxn>
                      <a:cxn ang="0">
                        <a:pos x="292" y="539"/>
                      </a:cxn>
                      <a:cxn ang="0">
                        <a:pos x="46" y="293"/>
                      </a:cxn>
                      <a:cxn ang="0">
                        <a:pos x="292" y="46"/>
                      </a:cxn>
                      <a:cxn ang="0">
                        <a:pos x="539" y="293"/>
                      </a:cxn>
                      <a:cxn ang="0">
                        <a:pos x="292" y="539"/>
                      </a:cxn>
                    </a:cxnLst>
                    <a:rect l="0" t="0" r="r" b="b"/>
                    <a:pathLst>
                      <a:path w="585" h="585">
                        <a:moveTo>
                          <a:pt x="292" y="0"/>
                        </a:moveTo>
                        <a:cubicBezTo>
                          <a:pt x="131" y="0"/>
                          <a:pt x="0" y="131"/>
                          <a:pt x="0" y="293"/>
                        </a:cubicBezTo>
                        <a:cubicBezTo>
                          <a:pt x="0" y="454"/>
                          <a:pt x="131" y="585"/>
                          <a:pt x="292" y="585"/>
                        </a:cubicBezTo>
                        <a:cubicBezTo>
                          <a:pt x="454" y="585"/>
                          <a:pt x="585" y="454"/>
                          <a:pt x="585" y="293"/>
                        </a:cubicBezTo>
                        <a:cubicBezTo>
                          <a:pt x="585" y="131"/>
                          <a:pt x="454" y="0"/>
                          <a:pt x="292" y="0"/>
                        </a:cubicBezTo>
                        <a:close/>
                        <a:moveTo>
                          <a:pt x="292" y="539"/>
                        </a:moveTo>
                        <a:cubicBezTo>
                          <a:pt x="156" y="539"/>
                          <a:pt x="46" y="429"/>
                          <a:pt x="46" y="293"/>
                        </a:cubicBezTo>
                        <a:cubicBezTo>
                          <a:pt x="46" y="156"/>
                          <a:pt x="156" y="46"/>
                          <a:pt x="292" y="46"/>
                        </a:cubicBezTo>
                        <a:cubicBezTo>
                          <a:pt x="429" y="46"/>
                          <a:pt x="539" y="156"/>
                          <a:pt x="539" y="293"/>
                        </a:cubicBezTo>
                        <a:cubicBezTo>
                          <a:pt x="539" y="429"/>
                          <a:pt x="429" y="539"/>
                          <a:pt x="292" y="539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4"/>
                  </a:lnRef>
                  <a:fillRef idx="3">
                    <a:schemeClr val="accent4"/>
                  </a:fillRef>
                  <a:effectRef idx="3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sz="900"/>
                  </a:p>
                </p:txBody>
              </p:sp>
              <p:sp>
                <p:nvSpPr>
                  <p:cNvPr id="48" name="Ellipse 12"/>
                  <p:cNvSpPr>
                    <a:spLocks noChangeArrowheads="1"/>
                  </p:cNvSpPr>
                  <p:nvPr/>
                </p:nvSpPr>
                <p:spPr bwMode="auto">
                  <a:xfrm>
                    <a:off x="3948899" y="2247780"/>
                    <a:ext cx="1279938" cy="127993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353637"/>
                      </a:gs>
                      <a:gs pos="100000">
                        <a:srgbClr val="151616"/>
                      </a:gs>
                    </a:gsLst>
                    <a:path path="shape">
                      <a:fillToRect l="50000" t="50000" r="50000" b="50000"/>
                    </a:path>
                  </a:gradFill>
                  <a:ln w="9525">
                    <a:solidFill>
                      <a:srgbClr val="191919"/>
                    </a:solidFill>
                    <a:round/>
                    <a:headEnd/>
                    <a:tailEnd/>
                  </a:ln>
                  <a:effectLst>
                    <a:outerShdw dist="23000" dir="5400000" rotWithShape="0">
                      <a:srgbClr val="808080">
                        <a:alpha val="34999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latin typeface="Calibri" charset="0"/>
                    </a:endParaRPr>
                  </a:p>
                </p:txBody>
              </p:sp>
              <p:sp>
                <p:nvSpPr>
                  <p:cNvPr id="49" name="Ellipse 13"/>
                  <p:cNvSpPr/>
                  <p:nvPr/>
                </p:nvSpPr>
                <p:spPr bwMode="auto">
                  <a:xfrm>
                    <a:off x="4118660" y="2304368"/>
                    <a:ext cx="940416" cy="692512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tx2">
                          <a:lumMod val="40000"/>
                          <a:lumOff val="60000"/>
                          <a:alpha val="0"/>
                        </a:schemeClr>
                      </a:gs>
                      <a:gs pos="100000">
                        <a:schemeClr val="bg1">
                          <a:alpha val="77000"/>
                        </a:schemeClr>
                      </a:gs>
                    </a:gsLst>
                    <a:lin ang="162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ea typeface="ＭＳ Ｐゴシック" charset="-128"/>
                    </a:endParaRPr>
                  </a:p>
                </p:txBody>
              </p:sp>
              <p:sp>
                <p:nvSpPr>
                  <p:cNvPr id="50" name="Block Arc 49"/>
                  <p:cNvSpPr/>
                  <p:nvPr/>
                </p:nvSpPr>
                <p:spPr>
                  <a:xfrm rot="18729919">
                    <a:off x="3230788" y="1508111"/>
                    <a:ext cx="2726940" cy="2729633"/>
                  </a:xfrm>
                  <a:prstGeom prst="blockArc">
                    <a:avLst>
                      <a:gd name="adj1" fmla="val 574634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900"/>
                  </a:p>
                </p:txBody>
              </p:sp>
              <p:sp>
                <p:nvSpPr>
                  <p:cNvPr id="51" name="Block Arc 50"/>
                  <p:cNvSpPr/>
                  <p:nvPr/>
                </p:nvSpPr>
                <p:spPr>
                  <a:xfrm rot="1352524">
                    <a:off x="3229440" y="1509459"/>
                    <a:ext cx="2729633" cy="2726940"/>
                  </a:xfrm>
                  <a:prstGeom prst="blockArc">
                    <a:avLst>
                      <a:gd name="adj1" fmla="val 596470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52" name="Block Arc 51"/>
                  <p:cNvSpPr/>
                  <p:nvPr/>
                </p:nvSpPr>
                <p:spPr>
                  <a:xfrm rot="5869595">
                    <a:off x="3230788" y="1508111"/>
                    <a:ext cx="2726940" cy="2729633"/>
                  </a:xfrm>
                  <a:prstGeom prst="blockArc">
                    <a:avLst>
                      <a:gd name="adj1" fmla="val 5627424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53" name="Block Arc 52"/>
                  <p:cNvSpPr/>
                  <p:nvPr/>
                </p:nvSpPr>
                <p:spPr>
                  <a:xfrm rot="10291675">
                    <a:off x="3229440" y="1509459"/>
                    <a:ext cx="2729633" cy="2726940"/>
                  </a:xfrm>
                  <a:prstGeom prst="blockArc">
                    <a:avLst>
                      <a:gd name="adj1" fmla="val 5803831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54" name="Block Arc 53"/>
                  <p:cNvSpPr/>
                  <p:nvPr/>
                </p:nvSpPr>
                <p:spPr>
                  <a:xfrm rot="14301489">
                    <a:off x="3230788" y="1508111"/>
                    <a:ext cx="2726940" cy="2729633"/>
                  </a:xfrm>
                  <a:prstGeom prst="blockArc">
                    <a:avLst>
                      <a:gd name="adj1" fmla="val 6140645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</p:grpSp>
            <p:sp>
              <p:nvSpPr>
                <p:cNvPr id="46" name="Ellipse 15"/>
                <p:cNvSpPr/>
                <p:nvPr/>
              </p:nvSpPr>
              <p:spPr bwMode="auto">
                <a:xfrm>
                  <a:off x="2763695" y="465055"/>
                  <a:ext cx="1237837" cy="91568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900" dirty="0"/>
                </a:p>
              </p:txBody>
            </p:sp>
          </p:grpSp>
          <p:sp>
            <p:nvSpPr>
              <p:cNvPr id="40" name="TextBox 29"/>
              <p:cNvSpPr txBox="1">
                <a:spLocks noChangeArrowheads="1"/>
              </p:cNvSpPr>
              <p:nvPr/>
            </p:nvSpPr>
            <p:spPr bwMode="auto">
              <a:xfrm>
                <a:off x="2754110" y="771753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D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41" name="TextBox 29"/>
              <p:cNvSpPr txBox="1">
                <a:spLocks noChangeArrowheads="1"/>
              </p:cNvSpPr>
              <p:nvPr/>
            </p:nvSpPr>
            <p:spPr bwMode="auto">
              <a:xfrm>
                <a:off x="2584640" y="1514847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M</a:t>
                </a:r>
              </a:p>
            </p:txBody>
          </p:sp>
          <p:sp>
            <p:nvSpPr>
              <p:cNvPr id="42" name="TextBox 29"/>
              <p:cNvSpPr txBox="1">
                <a:spLocks noChangeArrowheads="1"/>
              </p:cNvSpPr>
              <p:nvPr/>
            </p:nvSpPr>
            <p:spPr bwMode="auto">
              <a:xfrm>
                <a:off x="3253164" y="1880209"/>
                <a:ext cx="289718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A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43" name="TextBox 29"/>
              <p:cNvSpPr txBox="1">
                <a:spLocks noChangeArrowheads="1"/>
              </p:cNvSpPr>
              <p:nvPr/>
            </p:nvSpPr>
            <p:spPr bwMode="auto">
              <a:xfrm>
                <a:off x="3844923" y="13567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I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44" name="TextBox 29"/>
              <p:cNvSpPr txBox="1">
                <a:spLocks noChangeArrowheads="1"/>
              </p:cNvSpPr>
              <p:nvPr/>
            </p:nvSpPr>
            <p:spPr bwMode="auto">
              <a:xfrm>
                <a:off x="3487620" y="7158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C</a:t>
                </a:r>
              </a:p>
            </p:txBody>
          </p:sp>
        </p:grpSp>
        <p:sp>
          <p:nvSpPr>
            <p:cNvPr id="38" name="TextBox 29"/>
            <p:cNvSpPr txBox="1">
              <a:spLocks noChangeArrowheads="1"/>
            </p:cNvSpPr>
            <p:nvPr/>
          </p:nvSpPr>
          <p:spPr bwMode="auto">
            <a:xfrm rot="21335818">
              <a:off x="4093795" y="1350066"/>
              <a:ext cx="128171" cy="398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da-DK" sz="1600" b="1" dirty="0" smtClean="0">
                  <a:solidFill>
                    <a:schemeClr val="bg1"/>
                  </a:solidFill>
                </a:rPr>
                <a:t>I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1026" name="Picture 2" descr="C:\haixiang\Water Reclaim\Water Efficiency Building\Gold\IMG_0968_1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 rot="5400000">
            <a:off x="6070887" y="2131196"/>
            <a:ext cx="3309936" cy="23241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xmlns="" val="13035848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2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750"/>
                            </p:stCondLst>
                            <p:childTnLst>
                              <p:par>
                                <p:cTn id="22" presetID="5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2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2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2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2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2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2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5" dur="2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2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0" dur="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25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2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25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25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25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25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9" grpId="0" animBg="1"/>
      <p:bldP spid="3" grpId="0"/>
      <p:bldP spid="17" grpId="0"/>
      <p:bldP spid="18" grpId="0"/>
      <p:bldP spid="24" grpId="0"/>
      <p:bldP spid="27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2" y="5950508"/>
            <a:ext cx="9143999" cy="919366"/>
          </a:xfrm>
          <a:prstGeom prst="rect">
            <a:avLst/>
          </a:prstGeom>
        </p:spPr>
      </p:pic>
      <p:grpSp>
        <p:nvGrpSpPr>
          <p:cNvPr id="6" name="Group 5"/>
          <p:cNvGrpSpPr/>
          <p:nvPr/>
        </p:nvGrpSpPr>
        <p:grpSpPr>
          <a:xfrm>
            <a:off x="-2" y="1286808"/>
            <a:ext cx="9143999" cy="5355771"/>
            <a:chOff x="161069" y="979714"/>
            <a:chExt cx="8782653" cy="5355771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161069" y="979714"/>
              <a:ext cx="8782653" cy="4876800"/>
            </a:xfrm>
            <a:prstGeom prst="rect">
              <a:avLst/>
            </a:prstGeom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BEBA8EAE-BF5A-486C-A8C5-ECC9F3942E4B}">
                  <a14:imgProps xmlns:a14="http://schemas.microsoft.com/office/drawing/2010/main" xmlns="">
                    <a14:imgLayer r:embed="rId6">
                      <a14:imgEffect>
                        <a14:backgroundRemoval t="69728" b="74942" l="88749" r="90856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 l="88486" t="69076" r="8881" b="24406"/>
            <a:stretch/>
          </p:blipFill>
          <p:spPr>
            <a:xfrm>
              <a:off x="8207828" y="5856514"/>
              <a:ext cx="250372" cy="478971"/>
            </a:xfrm>
            <a:prstGeom prst="rect">
              <a:avLst/>
            </a:prstGeom>
          </p:spPr>
        </p:pic>
      </p:grpSp>
      <p:sp>
        <p:nvSpPr>
          <p:cNvPr id="7" name="Rectangle 6"/>
          <p:cNvSpPr/>
          <p:nvPr/>
        </p:nvSpPr>
        <p:spPr>
          <a:xfrm>
            <a:off x="114111" y="1482751"/>
            <a:ext cx="4457887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1155700">
              <a:lnSpc>
                <a:spcPct val="90000"/>
              </a:lnSpc>
              <a:spcAft>
                <a:spcPct val="35000"/>
              </a:spcAft>
            </a:pPr>
            <a:r>
              <a:rPr lang="en-US" sz="2400" b="1" dirty="0">
                <a:solidFill>
                  <a:srgbClr val="7030A0"/>
                </a:solidFill>
              </a:rPr>
              <a:t>Waste Water Reclaim System</a:t>
            </a:r>
          </a:p>
        </p:txBody>
      </p:sp>
      <p:sp>
        <p:nvSpPr>
          <p:cNvPr id="8" name="Rectangle 7"/>
          <p:cNvSpPr/>
          <p:nvPr/>
        </p:nvSpPr>
        <p:spPr>
          <a:xfrm>
            <a:off x="114112" y="2074095"/>
            <a:ext cx="3162488" cy="13111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155700">
              <a:lnSpc>
                <a:spcPct val="90000"/>
              </a:lnSpc>
              <a:spcAft>
                <a:spcPct val="35000"/>
              </a:spcAft>
            </a:pPr>
            <a:r>
              <a:rPr lang="en-GB" sz="2400" b="1" dirty="0">
                <a:solidFill>
                  <a:srgbClr val="7030A0"/>
                </a:solidFill>
              </a:rPr>
              <a:t>Reclaimed</a:t>
            </a:r>
            <a:r>
              <a:rPr lang="en-GB" sz="4000" b="1" dirty="0">
                <a:solidFill>
                  <a:srgbClr val="7030A0"/>
                </a:solidFill>
              </a:rPr>
              <a:t> 43%</a:t>
            </a:r>
            <a:r>
              <a:rPr lang="en-GB" sz="2400" b="1" dirty="0">
                <a:solidFill>
                  <a:srgbClr val="7030A0"/>
                </a:solidFill>
              </a:rPr>
              <a:t> </a:t>
            </a:r>
            <a:r>
              <a:rPr lang="en-GB" sz="2400" b="1" dirty="0" smtClean="0">
                <a:solidFill>
                  <a:srgbClr val="7030A0"/>
                </a:solidFill>
              </a:rPr>
              <a:t>of </a:t>
            </a:r>
            <a:r>
              <a:rPr lang="en-GB" sz="2400" b="1" dirty="0">
                <a:solidFill>
                  <a:srgbClr val="7030A0"/>
                </a:solidFill>
              </a:rPr>
              <a:t>Total </a:t>
            </a:r>
            <a:r>
              <a:rPr lang="en-GB" sz="2400" b="1" dirty="0" smtClean="0">
                <a:solidFill>
                  <a:srgbClr val="7030A0"/>
                </a:solidFill>
              </a:rPr>
              <a:t>Used Newater</a:t>
            </a:r>
            <a:endParaRPr lang="en-US" sz="2400" b="1" dirty="0">
              <a:solidFill>
                <a:srgbClr val="7030A0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5118628" y="1150353"/>
            <a:ext cx="3389534" cy="7571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155700">
              <a:lnSpc>
                <a:spcPct val="90000"/>
              </a:lnSpc>
              <a:spcAft>
                <a:spcPct val="35000"/>
              </a:spcAft>
            </a:pPr>
            <a:r>
              <a:rPr lang="en-US" sz="2400" b="1" dirty="0">
                <a:solidFill>
                  <a:srgbClr val="41D0FD"/>
                </a:solidFill>
              </a:rPr>
              <a:t>De-ionized Water Systems’ Upgrading</a:t>
            </a:r>
          </a:p>
        </p:txBody>
      </p:sp>
      <p:sp>
        <p:nvSpPr>
          <p:cNvPr id="10" name="Rectangle 9"/>
          <p:cNvSpPr/>
          <p:nvPr/>
        </p:nvSpPr>
        <p:spPr>
          <a:xfrm>
            <a:off x="5215338" y="2074095"/>
            <a:ext cx="3162488" cy="9787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155700">
              <a:lnSpc>
                <a:spcPct val="90000"/>
              </a:lnSpc>
              <a:spcAft>
                <a:spcPct val="35000"/>
              </a:spcAft>
            </a:pPr>
            <a:r>
              <a:rPr lang="en-GB" sz="4000" b="1" dirty="0">
                <a:solidFill>
                  <a:srgbClr val="41D0FD"/>
                </a:solidFill>
              </a:rPr>
              <a:t>86% </a:t>
            </a:r>
            <a:r>
              <a:rPr lang="en-GB" sz="2400" b="1" dirty="0" smtClean="0">
                <a:solidFill>
                  <a:srgbClr val="41D0FD"/>
                </a:solidFill>
              </a:rPr>
              <a:t>Water Recovery Rate</a:t>
            </a:r>
            <a:endParaRPr lang="en-US" sz="2400" b="1" dirty="0">
              <a:solidFill>
                <a:srgbClr val="41D0FD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934531" y="3383235"/>
            <a:ext cx="1976836" cy="14219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155700">
              <a:lnSpc>
                <a:spcPct val="90000"/>
              </a:lnSpc>
              <a:spcAft>
                <a:spcPct val="35000"/>
              </a:spcAft>
            </a:pPr>
            <a:r>
              <a:rPr lang="en-US" sz="2400" b="1" dirty="0">
                <a:solidFill>
                  <a:srgbClr val="7030A0"/>
                </a:solidFill>
              </a:rPr>
              <a:t>Installation of Smart Water Meters</a:t>
            </a:r>
          </a:p>
        </p:txBody>
      </p:sp>
      <p:sp>
        <p:nvSpPr>
          <p:cNvPr id="13" name="Rectangle 12"/>
          <p:cNvSpPr/>
          <p:nvPr/>
        </p:nvSpPr>
        <p:spPr>
          <a:xfrm>
            <a:off x="1171724" y="5018490"/>
            <a:ext cx="3196352" cy="10064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155700">
              <a:lnSpc>
                <a:spcPct val="90000"/>
              </a:lnSpc>
              <a:spcAft>
                <a:spcPct val="35000"/>
              </a:spcAft>
            </a:pPr>
            <a:r>
              <a:rPr lang="en-US" sz="2200" b="1" dirty="0">
                <a:solidFill>
                  <a:srgbClr val="7030A0"/>
                </a:solidFill>
              </a:rPr>
              <a:t>Potable Water Conservation in Wash Rooms and Cafeteria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813395" y="4103484"/>
            <a:ext cx="21933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155700">
              <a:lnSpc>
                <a:spcPct val="90000"/>
              </a:lnSpc>
              <a:spcAft>
                <a:spcPct val="35000"/>
              </a:spcAft>
            </a:pPr>
            <a:r>
              <a:rPr lang="en-US" b="1" dirty="0" smtClean="0">
                <a:solidFill>
                  <a:srgbClr val="41D0FD"/>
                </a:solidFill>
              </a:rPr>
              <a:t>Water Conservation Communication</a:t>
            </a:r>
            <a:endParaRPr lang="en-US" b="1" dirty="0">
              <a:solidFill>
                <a:srgbClr val="41D0FD"/>
              </a:solidFill>
            </a:endParaRPr>
          </a:p>
        </p:txBody>
      </p:sp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 xmlns="">
                  <a14:imgLayer r:embed="rId8">
                    <a14:imgEffect>
                      <a14:backgroundRemoval t="0" b="100000" l="0" r="9765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189441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4103484"/>
            <a:ext cx="1311049" cy="1748065"/>
          </a:xfrm>
          <a:prstGeom prst="rect">
            <a:avLst/>
          </a:prstGeom>
        </p:spPr>
      </p:pic>
      <p:sp>
        <p:nvSpPr>
          <p:cNvPr id="17" name="Title 1"/>
          <p:cNvSpPr txBox="1">
            <a:spLocks/>
          </p:cNvSpPr>
          <p:nvPr/>
        </p:nvSpPr>
        <p:spPr>
          <a:xfrm>
            <a:off x="993594" y="391951"/>
            <a:ext cx="4929355" cy="41717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US" dirty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Project Implementation </a:t>
            </a:r>
            <a:r>
              <a:rPr lang="en-US" dirty="0" smtClean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- Summary</a:t>
            </a:r>
            <a:endParaRPr lang="en-US" dirty="0">
              <a:solidFill>
                <a:srgbClr val="2875CA"/>
              </a:solidFill>
              <a:latin typeface="Britannic Bold" pitchFamily="34" charset="0"/>
              <a:ea typeface="+mj-ea"/>
              <a:cs typeface="+mj-cs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921328" y="4002687"/>
            <a:ext cx="2710544" cy="11249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1155700">
              <a:lnSpc>
                <a:spcPct val="90000"/>
              </a:lnSpc>
              <a:spcAft>
                <a:spcPct val="35000"/>
              </a:spcAft>
            </a:pPr>
            <a:r>
              <a:rPr lang="en-US" sz="2200" b="1" dirty="0" smtClean="0">
                <a:solidFill>
                  <a:srgbClr val="41D0FD"/>
                </a:solidFill>
              </a:rPr>
              <a:t>Water </a:t>
            </a:r>
            <a:r>
              <a:rPr lang="en-US" sz="2200" b="1" dirty="0">
                <a:solidFill>
                  <a:srgbClr val="41D0FD"/>
                </a:solidFill>
              </a:rPr>
              <a:t>Leak Detection System</a:t>
            </a:r>
          </a:p>
          <a:p>
            <a:pPr lvl="0" algn="ctr" defTabSz="1155700">
              <a:lnSpc>
                <a:spcPct val="90000"/>
              </a:lnSpc>
              <a:spcAft>
                <a:spcPct val="35000"/>
              </a:spcAft>
            </a:pPr>
            <a:endParaRPr lang="en-US" sz="2200" b="1" dirty="0">
              <a:solidFill>
                <a:srgbClr val="41D0FD"/>
              </a:solidFill>
            </a:endParaRPr>
          </a:p>
        </p:txBody>
      </p:sp>
      <p:grpSp>
        <p:nvGrpSpPr>
          <p:cNvPr id="22" name="Group 21"/>
          <p:cNvGrpSpPr/>
          <p:nvPr/>
        </p:nvGrpSpPr>
        <p:grpSpPr>
          <a:xfrm rot="264182">
            <a:off x="86596" y="91470"/>
            <a:ext cx="777240" cy="777240"/>
            <a:chOff x="3728638" y="1092389"/>
            <a:chExt cx="914400" cy="914400"/>
          </a:xfrm>
        </p:grpSpPr>
        <p:grpSp>
          <p:nvGrpSpPr>
            <p:cNvPr id="25" name="Group 24"/>
            <p:cNvGrpSpPr/>
            <p:nvPr/>
          </p:nvGrpSpPr>
          <p:grpSpPr>
            <a:xfrm>
              <a:off x="3728638" y="1092389"/>
              <a:ext cx="914400" cy="914400"/>
              <a:chOff x="2378075" y="502896"/>
              <a:chExt cx="2066925" cy="2066925"/>
            </a:xfrm>
          </p:grpSpPr>
          <p:grpSp>
            <p:nvGrpSpPr>
              <p:cNvPr id="27" name="Group 28"/>
              <p:cNvGrpSpPr>
                <a:grpSpLocks/>
              </p:cNvGrpSpPr>
              <p:nvPr/>
            </p:nvGrpSpPr>
            <p:grpSpPr bwMode="auto">
              <a:xfrm>
                <a:off x="2378075" y="502896"/>
                <a:ext cx="2066925" cy="2066925"/>
                <a:chOff x="2333625" y="219075"/>
                <a:chExt cx="2066236" cy="2066236"/>
              </a:xfrm>
            </p:grpSpPr>
            <p:grpSp>
              <p:nvGrpSpPr>
                <p:cNvPr id="33" name="Group 154"/>
                <p:cNvGrpSpPr>
                  <a:grpSpLocks/>
                </p:cNvGrpSpPr>
                <p:nvPr/>
              </p:nvGrpSpPr>
              <p:grpSpPr bwMode="auto">
                <a:xfrm>
                  <a:off x="2333625" y="219075"/>
                  <a:ext cx="2066236" cy="2066236"/>
                  <a:chOff x="2844111" y="1118742"/>
                  <a:chExt cx="3508375" cy="3508375"/>
                </a:xfrm>
              </p:grpSpPr>
              <p:sp>
                <p:nvSpPr>
                  <p:cNvPr id="35" name="Freeform 6"/>
                  <p:cNvSpPr>
                    <a:spLocks noEditPoints="1"/>
                  </p:cNvSpPr>
                  <p:nvPr>
                    <p:custDataLst>
                      <p:tags r:id="rId1"/>
                    </p:custDataLst>
                  </p:nvPr>
                </p:nvSpPr>
                <p:spPr bwMode="gray">
                  <a:xfrm rot="3600000">
                    <a:off x="2844111" y="1118742"/>
                    <a:ext cx="3508375" cy="3508375"/>
                  </a:xfrm>
                  <a:custGeom>
                    <a:avLst/>
                    <a:gdLst/>
                    <a:ahLst/>
                    <a:cxnLst>
                      <a:cxn ang="0">
                        <a:pos x="292" y="0"/>
                      </a:cxn>
                      <a:cxn ang="0">
                        <a:pos x="0" y="293"/>
                      </a:cxn>
                      <a:cxn ang="0">
                        <a:pos x="292" y="585"/>
                      </a:cxn>
                      <a:cxn ang="0">
                        <a:pos x="585" y="293"/>
                      </a:cxn>
                      <a:cxn ang="0">
                        <a:pos x="292" y="0"/>
                      </a:cxn>
                      <a:cxn ang="0">
                        <a:pos x="292" y="539"/>
                      </a:cxn>
                      <a:cxn ang="0">
                        <a:pos x="46" y="293"/>
                      </a:cxn>
                      <a:cxn ang="0">
                        <a:pos x="292" y="46"/>
                      </a:cxn>
                      <a:cxn ang="0">
                        <a:pos x="539" y="293"/>
                      </a:cxn>
                      <a:cxn ang="0">
                        <a:pos x="292" y="539"/>
                      </a:cxn>
                    </a:cxnLst>
                    <a:rect l="0" t="0" r="r" b="b"/>
                    <a:pathLst>
                      <a:path w="585" h="585">
                        <a:moveTo>
                          <a:pt x="292" y="0"/>
                        </a:moveTo>
                        <a:cubicBezTo>
                          <a:pt x="131" y="0"/>
                          <a:pt x="0" y="131"/>
                          <a:pt x="0" y="293"/>
                        </a:cubicBezTo>
                        <a:cubicBezTo>
                          <a:pt x="0" y="454"/>
                          <a:pt x="131" y="585"/>
                          <a:pt x="292" y="585"/>
                        </a:cubicBezTo>
                        <a:cubicBezTo>
                          <a:pt x="454" y="585"/>
                          <a:pt x="585" y="454"/>
                          <a:pt x="585" y="293"/>
                        </a:cubicBezTo>
                        <a:cubicBezTo>
                          <a:pt x="585" y="131"/>
                          <a:pt x="454" y="0"/>
                          <a:pt x="292" y="0"/>
                        </a:cubicBezTo>
                        <a:close/>
                        <a:moveTo>
                          <a:pt x="292" y="539"/>
                        </a:moveTo>
                        <a:cubicBezTo>
                          <a:pt x="156" y="539"/>
                          <a:pt x="46" y="429"/>
                          <a:pt x="46" y="293"/>
                        </a:cubicBezTo>
                        <a:cubicBezTo>
                          <a:pt x="46" y="156"/>
                          <a:pt x="156" y="46"/>
                          <a:pt x="292" y="46"/>
                        </a:cubicBezTo>
                        <a:cubicBezTo>
                          <a:pt x="429" y="46"/>
                          <a:pt x="539" y="156"/>
                          <a:pt x="539" y="293"/>
                        </a:cubicBezTo>
                        <a:cubicBezTo>
                          <a:pt x="539" y="429"/>
                          <a:pt x="429" y="539"/>
                          <a:pt x="292" y="539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4"/>
                  </a:lnRef>
                  <a:fillRef idx="3">
                    <a:schemeClr val="accent4"/>
                  </a:fillRef>
                  <a:effectRef idx="3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sz="900"/>
                  </a:p>
                </p:txBody>
              </p:sp>
              <p:sp>
                <p:nvSpPr>
                  <p:cNvPr id="36" name="Ellipse 12"/>
                  <p:cNvSpPr>
                    <a:spLocks noChangeArrowheads="1"/>
                  </p:cNvSpPr>
                  <p:nvPr/>
                </p:nvSpPr>
                <p:spPr bwMode="auto">
                  <a:xfrm>
                    <a:off x="3948899" y="2247780"/>
                    <a:ext cx="1279938" cy="127993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353637"/>
                      </a:gs>
                      <a:gs pos="100000">
                        <a:srgbClr val="151616"/>
                      </a:gs>
                    </a:gsLst>
                    <a:path path="shape">
                      <a:fillToRect l="50000" t="50000" r="50000" b="50000"/>
                    </a:path>
                  </a:gradFill>
                  <a:ln w="9525">
                    <a:solidFill>
                      <a:srgbClr val="191919"/>
                    </a:solidFill>
                    <a:round/>
                    <a:headEnd/>
                    <a:tailEnd/>
                  </a:ln>
                  <a:effectLst>
                    <a:outerShdw dist="23000" dir="5400000" rotWithShape="0">
                      <a:srgbClr val="808080">
                        <a:alpha val="34999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latin typeface="Calibri" charset="0"/>
                    </a:endParaRPr>
                  </a:p>
                </p:txBody>
              </p:sp>
              <p:sp>
                <p:nvSpPr>
                  <p:cNvPr id="37" name="Ellipse 13"/>
                  <p:cNvSpPr/>
                  <p:nvPr/>
                </p:nvSpPr>
                <p:spPr bwMode="auto">
                  <a:xfrm>
                    <a:off x="4118660" y="2304368"/>
                    <a:ext cx="940416" cy="692512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tx2">
                          <a:lumMod val="40000"/>
                          <a:lumOff val="60000"/>
                          <a:alpha val="0"/>
                        </a:schemeClr>
                      </a:gs>
                      <a:gs pos="100000">
                        <a:schemeClr val="bg1">
                          <a:alpha val="77000"/>
                        </a:schemeClr>
                      </a:gs>
                    </a:gsLst>
                    <a:lin ang="162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ea typeface="ＭＳ Ｐゴシック" charset="-128"/>
                    </a:endParaRPr>
                  </a:p>
                </p:txBody>
              </p:sp>
              <p:sp>
                <p:nvSpPr>
                  <p:cNvPr id="38" name="Block Arc 37"/>
                  <p:cNvSpPr/>
                  <p:nvPr/>
                </p:nvSpPr>
                <p:spPr>
                  <a:xfrm rot="18729919">
                    <a:off x="3230788" y="1508111"/>
                    <a:ext cx="2726940" cy="2729633"/>
                  </a:xfrm>
                  <a:prstGeom prst="blockArc">
                    <a:avLst>
                      <a:gd name="adj1" fmla="val 574634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900"/>
                  </a:p>
                </p:txBody>
              </p:sp>
              <p:sp>
                <p:nvSpPr>
                  <p:cNvPr id="39" name="Block Arc 38"/>
                  <p:cNvSpPr/>
                  <p:nvPr/>
                </p:nvSpPr>
                <p:spPr>
                  <a:xfrm rot="1352524">
                    <a:off x="3229440" y="1509459"/>
                    <a:ext cx="2729633" cy="2726940"/>
                  </a:xfrm>
                  <a:prstGeom prst="blockArc">
                    <a:avLst>
                      <a:gd name="adj1" fmla="val 596470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0" name="Block Arc 39"/>
                  <p:cNvSpPr/>
                  <p:nvPr/>
                </p:nvSpPr>
                <p:spPr>
                  <a:xfrm rot="5869595">
                    <a:off x="3230788" y="1508111"/>
                    <a:ext cx="2726940" cy="2729633"/>
                  </a:xfrm>
                  <a:prstGeom prst="blockArc">
                    <a:avLst>
                      <a:gd name="adj1" fmla="val 5627424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1" name="Block Arc 40"/>
                  <p:cNvSpPr/>
                  <p:nvPr/>
                </p:nvSpPr>
                <p:spPr>
                  <a:xfrm rot="10291675">
                    <a:off x="3229440" y="1509459"/>
                    <a:ext cx="2729633" cy="2726940"/>
                  </a:xfrm>
                  <a:prstGeom prst="blockArc">
                    <a:avLst>
                      <a:gd name="adj1" fmla="val 5803831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2" name="Block Arc 41"/>
                  <p:cNvSpPr/>
                  <p:nvPr/>
                </p:nvSpPr>
                <p:spPr>
                  <a:xfrm rot="14301489">
                    <a:off x="3230788" y="1508111"/>
                    <a:ext cx="2726940" cy="2729633"/>
                  </a:xfrm>
                  <a:prstGeom prst="blockArc">
                    <a:avLst>
                      <a:gd name="adj1" fmla="val 6140645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</p:grpSp>
            <p:sp>
              <p:nvSpPr>
                <p:cNvPr id="34" name="Ellipse 15"/>
                <p:cNvSpPr/>
                <p:nvPr/>
              </p:nvSpPr>
              <p:spPr bwMode="auto">
                <a:xfrm>
                  <a:off x="2763695" y="465055"/>
                  <a:ext cx="1237837" cy="91568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900" dirty="0"/>
                </a:p>
              </p:txBody>
            </p:sp>
          </p:grpSp>
          <p:sp>
            <p:nvSpPr>
              <p:cNvPr id="28" name="TextBox 29"/>
              <p:cNvSpPr txBox="1">
                <a:spLocks noChangeArrowheads="1"/>
              </p:cNvSpPr>
              <p:nvPr/>
            </p:nvSpPr>
            <p:spPr bwMode="auto">
              <a:xfrm>
                <a:off x="2754110" y="771753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D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29" name="TextBox 29"/>
              <p:cNvSpPr txBox="1">
                <a:spLocks noChangeArrowheads="1"/>
              </p:cNvSpPr>
              <p:nvPr/>
            </p:nvSpPr>
            <p:spPr bwMode="auto">
              <a:xfrm>
                <a:off x="2584640" y="1514847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M</a:t>
                </a:r>
              </a:p>
            </p:txBody>
          </p:sp>
          <p:sp>
            <p:nvSpPr>
              <p:cNvPr id="30" name="TextBox 29"/>
              <p:cNvSpPr txBox="1">
                <a:spLocks noChangeArrowheads="1"/>
              </p:cNvSpPr>
              <p:nvPr/>
            </p:nvSpPr>
            <p:spPr bwMode="auto">
              <a:xfrm>
                <a:off x="3253164" y="1880209"/>
                <a:ext cx="289718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A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31" name="TextBox 29"/>
              <p:cNvSpPr txBox="1">
                <a:spLocks noChangeArrowheads="1"/>
              </p:cNvSpPr>
              <p:nvPr/>
            </p:nvSpPr>
            <p:spPr bwMode="auto">
              <a:xfrm>
                <a:off x="3844923" y="13567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I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32" name="TextBox 29"/>
              <p:cNvSpPr txBox="1">
                <a:spLocks noChangeArrowheads="1"/>
              </p:cNvSpPr>
              <p:nvPr/>
            </p:nvSpPr>
            <p:spPr bwMode="auto">
              <a:xfrm>
                <a:off x="3487620" y="7158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C</a:t>
                </a:r>
              </a:p>
            </p:txBody>
          </p:sp>
        </p:grpSp>
        <p:sp>
          <p:nvSpPr>
            <p:cNvPr id="26" name="TextBox 29"/>
            <p:cNvSpPr txBox="1">
              <a:spLocks noChangeArrowheads="1"/>
            </p:cNvSpPr>
            <p:nvPr/>
          </p:nvSpPr>
          <p:spPr bwMode="auto">
            <a:xfrm rot="21335818">
              <a:off x="4093795" y="1350066"/>
              <a:ext cx="128171" cy="398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da-DK" sz="1600" b="1" dirty="0" smtClean="0">
                  <a:solidFill>
                    <a:schemeClr val="bg1"/>
                  </a:solidFill>
                </a:rPr>
                <a:t>I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1812425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2" y="5605153"/>
            <a:ext cx="9143999" cy="1264721"/>
          </a:xfrm>
          <a:prstGeom prst="rect">
            <a:avLst/>
          </a:prstGeom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 xmlns="">
                  <a14:imgLayer r:embed="rId5">
                    <a14:imgEffect>
                      <a14:backgroundRemoval t="0" b="100000" l="0" r="97659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189441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Round Single Corner Rectangle 15"/>
          <p:cNvSpPr/>
          <p:nvPr/>
        </p:nvSpPr>
        <p:spPr>
          <a:xfrm rot="16200000">
            <a:off x="-76029" y="1200134"/>
            <a:ext cx="4827752" cy="4457733"/>
          </a:xfrm>
          <a:prstGeom prst="round1Rect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 prstMaterial="plastic">
            <a:bevelT w="127000" h="25400" prst="relaxedInset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4">
              <a:hueOff val="0"/>
              <a:satOff val="0"/>
              <a:lumOff val="0"/>
              <a:alphaOff val="0"/>
            </a:schemeClr>
          </a:fillRef>
          <a:effectRef idx="2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20" name="Group 19"/>
          <p:cNvGrpSpPr/>
          <p:nvPr/>
        </p:nvGrpSpPr>
        <p:grpSpPr>
          <a:xfrm>
            <a:off x="4566715" y="661679"/>
            <a:ext cx="4463015" cy="5181197"/>
            <a:chOff x="4457734" y="-31820"/>
            <a:chExt cx="4463015" cy="2595972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21" name="Round Single Corner Rectangle 20"/>
            <p:cNvSpPr/>
            <p:nvPr/>
          </p:nvSpPr>
          <p:spPr>
            <a:xfrm>
              <a:off x="4457734" y="150276"/>
              <a:ext cx="4457733" cy="2413876"/>
            </a:xfrm>
            <a:prstGeom prst="round1Rect">
              <a:avLst/>
            </a:prstGeom>
            <a:sp3d prstMaterial="plastic">
              <a:bevelT w="127000" h="25400" prst="relaxedInset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-3546096"/>
                <a:satOff val="8910"/>
                <a:lumOff val="719"/>
                <a:alphaOff val="0"/>
              </a:schemeClr>
            </a:fillRef>
            <a:effectRef idx="2">
              <a:schemeClr val="accent4">
                <a:hueOff val="-3546096"/>
                <a:satOff val="8910"/>
                <a:lumOff val="719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ound Single Corner Rectangle 4"/>
            <p:cNvSpPr/>
            <p:nvPr/>
          </p:nvSpPr>
          <p:spPr>
            <a:xfrm>
              <a:off x="4463016" y="-31820"/>
              <a:ext cx="4457733" cy="1810407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99136" tIns="199136" rIns="199136" bIns="199136" numCol="1" spcCol="1270" anchor="ctr" anchorCtr="0">
              <a:noAutofit/>
            </a:bodyPr>
            <a:lstStyle/>
            <a:p>
              <a:pPr lvl="0" algn="l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1" dirty="0" smtClean="0">
                  <a:solidFill>
                    <a:schemeClr val="bg1"/>
                  </a:solidFill>
                </a:rPr>
                <a:t>Other </a:t>
              </a:r>
              <a:r>
                <a:rPr lang="en-US" sz="1600" b="1" kern="1200" dirty="0" smtClean="0">
                  <a:solidFill>
                    <a:schemeClr val="bg1"/>
                  </a:solidFill>
                </a:rPr>
                <a:t>Challenges:    </a:t>
              </a:r>
            </a:p>
            <a:p>
              <a:pPr lvl="0" algn="l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b="0" kern="1200" dirty="0" smtClean="0">
                  <a:solidFill>
                    <a:schemeClr val="bg1"/>
                  </a:solidFill>
                </a:rPr>
                <a:t>1. Get</a:t>
              </a:r>
              <a:r>
                <a:rPr lang="en-US" sz="1600" kern="1200" dirty="0" smtClean="0">
                  <a:solidFill>
                    <a:schemeClr val="bg1"/>
                  </a:solidFill>
                </a:rPr>
                <a:t> understood by employees in    </a:t>
              </a:r>
            </a:p>
            <a:p>
              <a:pPr lvl="0" algn="l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dirty="0">
                  <a:solidFill>
                    <a:schemeClr val="bg1"/>
                  </a:solidFill>
                </a:rPr>
                <a:t> </a:t>
              </a:r>
              <a:r>
                <a:rPr lang="en-US" sz="1600" dirty="0" smtClean="0">
                  <a:solidFill>
                    <a:schemeClr val="bg1"/>
                  </a:solidFill>
                </a:rPr>
                <a:t>   wash room </a:t>
              </a:r>
              <a:r>
                <a:rPr lang="en-US" sz="1600" kern="1200" dirty="0" smtClean="0">
                  <a:solidFill>
                    <a:schemeClr val="bg1"/>
                  </a:solidFill>
                </a:rPr>
                <a:t>water conservation.</a:t>
              </a:r>
            </a:p>
            <a:p>
              <a:pPr lvl="0" algn="l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kern="1200" dirty="0" smtClean="0"/>
                <a:t>2. Gain ownership from Cafeteria staff.</a:t>
              </a:r>
            </a:p>
            <a:p>
              <a:pPr lvl="0" algn="l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600" kern="1200" dirty="0" smtClean="0">
                  <a:solidFill>
                    <a:schemeClr val="bg1"/>
                  </a:solidFill>
                </a:rPr>
                <a:t>3. Difficult to get production windows time.</a:t>
              </a:r>
            </a:p>
            <a:p>
              <a:pPr lvl="0" algn="ctr" defTabSz="12446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US" sz="2800" kern="1200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Title 1"/>
          <p:cNvSpPr txBox="1">
            <a:spLocks/>
          </p:cNvSpPr>
          <p:nvPr/>
        </p:nvSpPr>
        <p:spPr>
          <a:xfrm>
            <a:off x="993594" y="391951"/>
            <a:ext cx="4929355" cy="41717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r>
              <a:rPr lang="en-US" dirty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Project Implementation </a:t>
            </a:r>
            <a:r>
              <a:rPr lang="en-US" dirty="0" smtClean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- </a:t>
            </a:r>
            <a:r>
              <a:rPr lang="en-US" dirty="0">
                <a:solidFill>
                  <a:srgbClr val="2875CA"/>
                </a:solidFill>
                <a:latin typeface="Britannic Bold" pitchFamily="34" charset="0"/>
              </a:rPr>
              <a:t>Challenges Faced</a:t>
            </a:r>
          </a:p>
          <a:p>
            <a:pPr lvl="0">
              <a:defRPr/>
            </a:pPr>
            <a:endParaRPr lang="en-US" dirty="0">
              <a:solidFill>
                <a:srgbClr val="2875CA"/>
              </a:solidFill>
              <a:latin typeface="Britannic Bold" pitchFamily="34" charset="0"/>
              <a:ea typeface="+mj-ea"/>
              <a:cs typeface="+mj-cs"/>
            </a:endParaRPr>
          </a:p>
        </p:txBody>
      </p:sp>
      <p:grpSp>
        <p:nvGrpSpPr>
          <p:cNvPr id="13" name="Group 12"/>
          <p:cNvGrpSpPr/>
          <p:nvPr/>
        </p:nvGrpSpPr>
        <p:grpSpPr>
          <a:xfrm rot="264182">
            <a:off x="86596" y="91470"/>
            <a:ext cx="777240" cy="777240"/>
            <a:chOff x="3728638" y="1092389"/>
            <a:chExt cx="914400" cy="914400"/>
          </a:xfrm>
        </p:grpSpPr>
        <p:grpSp>
          <p:nvGrpSpPr>
            <p:cNvPr id="14" name="Group 13"/>
            <p:cNvGrpSpPr/>
            <p:nvPr/>
          </p:nvGrpSpPr>
          <p:grpSpPr>
            <a:xfrm>
              <a:off x="3728638" y="1092389"/>
              <a:ext cx="914400" cy="914400"/>
              <a:chOff x="2378075" y="502896"/>
              <a:chExt cx="2066925" cy="2066925"/>
            </a:xfrm>
          </p:grpSpPr>
          <p:grpSp>
            <p:nvGrpSpPr>
              <p:cNvPr id="17" name="Group 28"/>
              <p:cNvGrpSpPr>
                <a:grpSpLocks/>
              </p:cNvGrpSpPr>
              <p:nvPr/>
            </p:nvGrpSpPr>
            <p:grpSpPr bwMode="auto">
              <a:xfrm>
                <a:off x="2378075" y="502896"/>
                <a:ext cx="2066925" cy="2066925"/>
                <a:chOff x="2333625" y="219075"/>
                <a:chExt cx="2066236" cy="2066236"/>
              </a:xfrm>
            </p:grpSpPr>
            <p:grpSp>
              <p:nvGrpSpPr>
                <p:cNvPr id="27" name="Group 154"/>
                <p:cNvGrpSpPr>
                  <a:grpSpLocks/>
                </p:cNvGrpSpPr>
                <p:nvPr/>
              </p:nvGrpSpPr>
              <p:grpSpPr bwMode="auto">
                <a:xfrm>
                  <a:off x="2333625" y="219075"/>
                  <a:ext cx="2066236" cy="2066236"/>
                  <a:chOff x="2844111" y="1118742"/>
                  <a:chExt cx="3508375" cy="3508375"/>
                </a:xfrm>
              </p:grpSpPr>
              <p:sp>
                <p:nvSpPr>
                  <p:cNvPr id="29" name="Freeform 6"/>
                  <p:cNvSpPr>
                    <a:spLocks noEditPoints="1"/>
                  </p:cNvSpPr>
                  <p:nvPr>
                    <p:custDataLst>
                      <p:tags r:id="rId1"/>
                    </p:custDataLst>
                  </p:nvPr>
                </p:nvSpPr>
                <p:spPr bwMode="gray">
                  <a:xfrm rot="3600000">
                    <a:off x="2844111" y="1118742"/>
                    <a:ext cx="3508375" cy="3508375"/>
                  </a:xfrm>
                  <a:custGeom>
                    <a:avLst/>
                    <a:gdLst/>
                    <a:ahLst/>
                    <a:cxnLst>
                      <a:cxn ang="0">
                        <a:pos x="292" y="0"/>
                      </a:cxn>
                      <a:cxn ang="0">
                        <a:pos x="0" y="293"/>
                      </a:cxn>
                      <a:cxn ang="0">
                        <a:pos x="292" y="585"/>
                      </a:cxn>
                      <a:cxn ang="0">
                        <a:pos x="585" y="293"/>
                      </a:cxn>
                      <a:cxn ang="0">
                        <a:pos x="292" y="0"/>
                      </a:cxn>
                      <a:cxn ang="0">
                        <a:pos x="292" y="539"/>
                      </a:cxn>
                      <a:cxn ang="0">
                        <a:pos x="46" y="293"/>
                      </a:cxn>
                      <a:cxn ang="0">
                        <a:pos x="292" y="46"/>
                      </a:cxn>
                      <a:cxn ang="0">
                        <a:pos x="539" y="293"/>
                      </a:cxn>
                      <a:cxn ang="0">
                        <a:pos x="292" y="539"/>
                      </a:cxn>
                    </a:cxnLst>
                    <a:rect l="0" t="0" r="r" b="b"/>
                    <a:pathLst>
                      <a:path w="585" h="585">
                        <a:moveTo>
                          <a:pt x="292" y="0"/>
                        </a:moveTo>
                        <a:cubicBezTo>
                          <a:pt x="131" y="0"/>
                          <a:pt x="0" y="131"/>
                          <a:pt x="0" y="293"/>
                        </a:cubicBezTo>
                        <a:cubicBezTo>
                          <a:pt x="0" y="454"/>
                          <a:pt x="131" y="585"/>
                          <a:pt x="292" y="585"/>
                        </a:cubicBezTo>
                        <a:cubicBezTo>
                          <a:pt x="454" y="585"/>
                          <a:pt x="585" y="454"/>
                          <a:pt x="585" y="293"/>
                        </a:cubicBezTo>
                        <a:cubicBezTo>
                          <a:pt x="585" y="131"/>
                          <a:pt x="454" y="0"/>
                          <a:pt x="292" y="0"/>
                        </a:cubicBezTo>
                        <a:close/>
                        <a:moveTo>
                          <a:pt x="292" y="539"/>
                        </a:moveTo>
                        <a:cubicBezTo>
                          <a:pt x="156" y="539"/>
                          <a:pt x="46" y="429"/>
                          <a:pt x="46" y="293"/>
                        </a:cubicBezTo>
                        <a:cubicBezTo>
                          <a:pt x="46" y="156"/>
                          <a:pt x="156" y="46"/>
                          <a:pt x="292" y="46"/>
                        </a:cubicBezTo>
                        <a:cubicBezTo>
                          <a:pt x="429" y="46"/>
                          <a:pt x="539" y="156"/>
                          <a:pt x="539" y="293"/>
                        </a:cubicBezTo>
                        <a:cubicBezTo>
                          <a:pt x="539" y="429"/>
                          <a:pt x="429" y="539"/>
                          <a:pt x="292" y="539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4"/>
                  </a:lnRef>
                  <a:fillRef idx="3">
                    <a:schemeClr val="accent4"/>
                  </a:fillRef>
                  <a:effectRef idx="3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sz="900"/>
                  </a:p>
                </p:txBody>
              </p:sp>
              <p:sp>
                <p:nvSpPr>
                  <p:cNvPr id="30" name="Ellipse 12"/>
                  <p:cNvSpPr>
                    <a:spLocks noChangeArrowheads="1"/>
                  </p:cNvSpPr>
                  <p:nvPr/>
                </p:nvSpPr>
                <p:spPr bwMode="auto">
                  <a:xfrm>
                    <a:off x="3948899" y="2247780"/>
                    <a:ext cx="1279938" cy="127993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353637"/>
                      </a:gs>
                      <a:gs pos="100000">
                        <a:srgbClr val="151616"/>
                      </a:gs>
                    </a:gsLst>
                    <a:path path="shape">
                      <a:fillToRect l="50000" t="50000" r="50000" b="50000"/>
                    </a:path>
                  </a:gradFill>
                  <a:ln w="9525">
                    <a:solidFill>
                      <a:srgbClr val="191919"/>
                    </a:solidFill>
                    <a:round/>
                    <a:headEnd/>
                    <a:tailEnd/>
                  </a:ln>
                  <a:effectLst>
                    <a:outerShdw dist="23000" dir="5400000" rotWithShape="0">
                      <a:srgbClr val="808080">
                        <a:alpha val="34999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latin typeface="Calibri" charset="0"/>
                    </a:endParaRPr>
                  </a:p>
                </p:txBody>
              </p:sp>
              <p:sp>
                <p:nvSpPr>
                  <p:cNvPr id="31" name="Ellipse 13"/>
                  <p:cNvSpPr/>
                  <p:nvPr/>
                </p:nvSpPr>
                <p:spPr bwMode="auto">
                  <a:xfrm>
                    <a:off x="4118660" y="2304368"/>
                    <a:ext cx="940416" cy="692512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tx2">
                          <a:lumMod val="40000"/>
                          <a:lumOff val="60000"/>
                          <a:alpha val="0"/>
                        </a:schemeClr>
                      </a:gs>
                      <a:gs pos="100000">
                        <a:schemeClr val="bg1">
                          <a:alpha val="77000"/>
                        </a:schemeClr>
                      </a:gs>
                    </a:gsLst>
                    <a:lin ang="162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ea typeface="ＭＳ Ｐゴシック" charset="-128"/>
                    </a:endParaRPr>
                  </a:p>
                </p:txBody>
              </p:sp>
              <p:sp>
                <p:nvSpPr>
                  <p:cNvPr id="32" name="Block Arc 31"/>
                  <p:cNvSpPr/>
                  <p:nvPr/>
                </p:nvSpPr>
                <p:spPr>
                  <a:xfrm rot="18729919">
                    <a:off x="3230788" y="1508111"/>
                    <a:ext cx="2726940" cy="2729633"/>
                  </a:xfrm>
                  <a:prstGeom prst="blockArc">
                    <a:avLst>
                      <a:gd name="adj1" fmla="val 574634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900"/>
                  </a:p>
                </p:txBody>
              </p:sp>
              <p:sp>
                <p:nvSpPr>
                  <p:cNvPr id="33" name="Block Arc 32"/>
                  <p:cNvSpPr/>
                  <p:nvPr/>
                </p:nvSpPr>
                <p:spPr>
                  <a:xfrm rot="1352524">
                    <a:off x="3229440" y="1509459"/>
                    <a:ext cx="2729633" cy="2726940"/>
                  </a:xfrm>
                  <a:prstGeom prst="blockArc">
                    <a:avLst>
                      <a:gd name="adj1" fmla="val 596470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34" name="Block Arc 33"/>
                  <p:cNvSpPr/>
                  <p:nvPr/>
                </p:nvSpPr>
                <p:spPr>
                  <a:xfrm rot="5869595">
                    <a:off x="3230788" y="1508111"/>
                    <a:ext cx="2726940" cy="2729633"/>
                  </a:xfrm>
                  <a:prstGeom prst="blockArc">
                    <a:avLst>
                      <a:gd name="adj1" fmla="val 5627424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35" name="Block Arc 34"/>
                  <p:cNvSpPr/>
                  <p:nvPr/>
                </p:nvSpPr>
                <p:spPr>
                  <a:xfrm rot="10291675">
                    <a:off x="3229440" y="1509459"/>
                    <a:ext cx="2729633" cy="2726940"/>
                  </a:xfrm>
                  <a:prstGeom prst="blockArc">
                    <a:avLst>
                      <a:gd name="adj1" fmla="val 5803831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36" name="Block Arc 35"/>
                  <p:cNvSpPr/>
                  <p:nvPr/>
                </p:nvSpPr>
                <p:spPr>
                  <a:xfrm rot="14301489">
                    <a:off x="3230788" y="1508111"/>
                    <a:ext cx="2726940" cy="2729633"/>
                  </a:xfrm>
                  <a:prstGeom prst="blockArc">
                    <a:avLst>
                      <a:gd name="adj1" fmla="val 6140645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</p:grpSp>
            <p:sp>
              <p:nvSpPr>
                <p:cNvPr id="28" name="Ellipse 15"/>
                <p:cNvSpPr/>
                <p:nvPr/>
              </p:nvSpPr>
              <p:spPr bwMode="auto">
                <a:xfrm>
                  <a:off x="2763695" y="465055"/>
                  <a:ext cx="1237837" cy="91568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900" dirty="0"/>
                </a:p>
              </p:txBody>
            </p:sp>
          </p:grpSp>
          <p:sp>
            <p:nvSpPr>
              <p:cNvPr id="19" name="TextBox 29"/>
              <p:cNvSpPr txBox="1">
                <a:spLocks noChangeArrowheads="1"/>
              </p:cNvSpPr>
              <p:nvPr/>
            </p:nvSpPr>
            <p:spPr bwMode="auto">
              <a:xfrm>
                <a:off x="2754110" y="771753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D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23" name="TextBox 29"/>
              <p:cNvSpPr txBox="1">
                <a:spLocks noChangeArrowheads="1"/>
              </p:cNvSpPr>
              <p:nvPr/>
            </p:nvSpPr>
            <p:spPr bwMode="auto">
              <a:xfrm>
                <a:off x="2584640" y="1514847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M</a:t>
                </a:r>
              </a:p>
            </p:txBody>
          </p:sp>
          <p:sp>
            <p:nvSpPr>
              <p:cNvPr id="24" name="TextBox 23"/>
              <p:cNvSpPr txBox="1">
                <a:spLocks noChangeArrowheads="1"/>
              </p:cNvSpPr>
              <p:nvPr/>
            </p:nvSpPr>
            <p:spPr bwMode="auto">
              <a:xfrm>
                <a:off x="3253164" y="1880209"/>
                <a:ext cx="289718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A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25" name="TextBox 29"/>
              <p:cNvSpPr txBox="1">
                <a:spLocks noChangeArrowheads="1"/>
              </p:cNvSpPr>
              <p:nvPr/>
            </p:nvSpPr>
            <p:spPr bwMode="auto">
              <a:xfrm>
                <a:off x="3844923" y="13567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I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26" name="TextBox 29"/>
              <p:cNvSpPr txBox="1">
                <a:spLocks noChangeArrowheads="1"/>
              </p:cNvSpPr>
              <p:nvPr/>
            </p:nvSpPr>
            <p:spPr bwMode="auto">
              <a:xfrm>
                <a:off x="3487620" y="7158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C</a:t>
                </a:r>
              </a:p>
            </p:txBody>
          </p:sp>
        </p:grpSp>
        <p:sp>
          <p:nvSpPr>
            <p:cNvPr id="15" name="TextBox 29"/>
            <p:cNvSpPr txBox="1">
              <a:spLocks noChangeArrowheads="1"/>
            </p:cNvSpPr>
            <p:nvPr/>
          </p:nvSpPr>
          <p:spPr bwMode="auto">
            <a:xfrm rot="21335818">
              <a:off x="4093795" y="1350066"/>
              <a:ext cx="128171" cy="398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da-DK" sz="1600" b="1" dirty="0" smtClean="0">
                  <a:solidFill>
                    <a:schemeClr val="bg1"/>
                  </a:solidFill>
                </a:rPr>
                <a:t>I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3" name="Rectangle 2"/>
          <p:cNvSpPr/>
          <p:nvPr/>
        </p:nvSpPr>
        <p:spPr>
          <a:xfrm>
            <a:off x="367163" y="3448961"/>
            <a:ext cx="4497633" cy="1852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533400">
              <a:lnSpc>
                <a:spcPct val="90000"/>
              </a:lnSpc>
              <a:spcAft>
                <a:spcPct val="35000"/>
              </a:spcAft>
            </a:pPr>
            <a:r>
              <a:rPr lang="en-US" sz="1600" dirty="0">
                <a:solidFill>
                  <a:schemeClr val="bg1"/>
                </a:solidFill>
              </a:rPr>
              <a:t>5. Tough process of obtaining </a:t>
            </a:r>
            <a:r>
              <a:rPr lang="en-US" sz="1600" dirty="0" smtClean="0">
                <a:solidFill>
                  <a:schemeClr val="bg1"/>
                </a:solidFill>
              </a:rPr>
              <a:t>the </a:t>
            </a:r>
          </a:p>
          <a:p>
            <a:pPr lvl="0" defTabSz="533400">
              <a:lnSpc>
                <a:spcPct val="90000"/>
              </a:lnSpc>
              <a:spcAft>
                <a:spcPct val="35000"/>
              </a:spcAft>
            </a:pPr>
            <a:r>
              <a:rPr lang="en-US" sz="1600" dirty="0">
                <a:solidFill>
                  <a:schemeClr val="bg1"/>
                </a:solidFill>
                <a:latin typeface="+mn-lt"/>
              </a:rPr>
              <a:t> </a:t>
            </a:r>
            <a:r>
              <a:rPr lang="en-US" sz="1600" dirty="0" smtClean="0">
                <a:solidFill>
                  <a:schemeClr val="bg1"/>
                </a:solidFill>
                <a:latin typeface="+mn-lt"/>
              </a:rPr>
              <a:t>   governmental</a:t>
            </a:r>
            <a:r>
              <a:rPr lang="en-US" sz="1600" dirty="0" smtClean="0">
                <a:solidFill>
                  <a:schemeClr val="bg1"/>
                </a:solidFill>
              </a:rPr>
              <a:t> </a:t>
            </a:r>
            <a:r>
              <a:rPr lang="en-US" sz="1600" dirty="0">
                <a:solidFill>
                  <a:schemeClr val="bg1"/>
                </a:solidFill>
              </a:rPr>
              <a:t>funding of S$243,000.</a:t>
            </a:r>
          </a:p>
          <a:p>
            <a:pPr lvl="0" defTabSz="533400">
              <a:lnSpc>
                <a:spcPct val="90000"/>
              </a:lnSpc>
              <a:spcAft>
                <a:spcPct val="35000"/>
              </a:spcAft>
            </a:pPr>
            <a:r>
              <a:rPr lang="en-US" sz="1600" dirty="0" smtClean="0">
                <a:solidFill>
                  <a:schemeClr val="bg1"/>
                </a:solidFill>
              </a:rPr>
              <a:t>6. Inconsistent </a:t>
            </a:r>
            <a:r>
              <a:rPr lang="en-US" sz="1600" dirty="0">
                <a:solidFill>
                  <a:schemeClr val="bg1"/>
                </a:solidFill>
              </a:rPr>
              <a:t>water pressure from PUB  </a:t>
            </a:r>
          </a:p>
          <a:p>
            <a:pPr lvl="0" defTabSz="533400">
              <a:lnSpc>
                <a:spcPct val="90000"/>
              </a:lnSpc>
              <a:spcAft>
                <a:spcPct val="35000"/>
              </a:spcAft>
            </a:pPr>
            <a:r>
              <a:rPr lang="en-US" sz="1600" dirty="0">
                <a:solidFill>
                  <a:schemeClr val="bg1"/>
                </a:solidFill>
              </a:rPr>
              <a:t>     </a:t>
            </a:r>
            <a:r>
              <a:rPr lang="en-US" sz="1600" dirty="0" smtClean="0">
                <a:solidFill>
                  <a:schemeClr val="bg1"/>
                </a:solidFill>
              </a:rPr>
              <a:t>supply</a:t>
            </a:r>
            <a:r>
              <a:rPr lang="en-US" sz="1600" dirty="0">
                <a:solidFill>
                  <a:schemeClr val="bg1"/>
                </a:solidFill>
              </a:rPr>
              <a:t>.</a:t>
            </a:r>
          </a:p>
          <a:p>
            <a:pPr lvl="0" defTabSz="533400">
              <a:lnSpc>
                <a:spcPct val="90000"/>
              </a:lnSpc>
              <a:spcAft>
                <a:spcPct val="35000"/>
              </a:spcAft>
            </a:pPr>
            <a:r>
              <a:rPr lang="en-US" sz="1600" dirty="0" smtClean="0">
                <a:solidFill>
                  <a:schemeClr val="bg1"/>
                </a:solidFill>
              </a:rPr>
              <a:t>7.  </a:t>
            </a:r>
            <a:r>
              <a:rPr lang="en-US" sz="1600" dirty="0">
                <a:solidFill>
                  <a:schemeClr val="bg1"/>
                </a:solidFill>
              </a:rPr>
              <a:t>Low temperature of waste water</a:t>
            </a:r>
          </a:p>
          <a:p>
            <a:pPr lvl="0" defTabSz="533400">
              <a:lnSpc>
                <a:spcPct val="90000"/>
              </a:lnSpc>
              <a:spcAft>
                <a:spcPct val="35000"/>
              </a:spcAft>
            </a:pPr>
            <a:r>
              <a:rPr lang="en-US" sz="1600" dirty="0">
                <a:solidFill>
                  <a:schemeClr val="bg1"/>
                </a:solidFill>
              </a:rPr>
              <a:t>     </a:t>
            </a:r>
            <a:r>
              <a:rPr lang="en-US" sz="1600" dirty="0" smtClean="0">
                <a:solidFill>
                  <a:schemeClr val="bg1"/>
                </a:solidFill>
              </a:rPr>
              <a:t>cause </a:t>
            </a:r>
            <a:r>
              <a:rPr lang="en-US" sz="1600" dirty="0">
                <a:solidFill>
                  <a:schemeClr val="bg1"/>
                </a:solidFill>
              </a:rPr>
              <a:t>component failure.</a:t>
            </a:r>
          </a:p>
        </p:txBody>
      </p:sp>
      <p:sp>
        <p:nvSpPr>
          <p:cNvPr id="37" name="Rectangle 36"/>
          <p:cNvSpPr/>
          <p:nvPr/>
        </p:nvSpPr>
        <p:spPr>
          <a:xfrm>
            <a:off x="235739" y="1495775"/>
            <a:ext cx="4497633" cy="1852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533400">
              <a:lnSpc>
                <a:spcPct val="90000"/>
              </a:lnSpc>
              <a:spcAft>
                <a:spcPct val="35000"/>
              </a:spcAft>
            </a:pPr>
            <a:r>
              <a:rPr lang="en-US" sz="1600" b="1" dirty="0">
                <a:solidFill>
                  <a:schemeClr val="bg1"/>
                </a:solidFill>
              </a:rPr>
              <a:t>Technical Challenges:</a:t>
            </a:r>
          </a:p>
          <a:p>
            <a:pPr lvl="0" defTabSz="533400">
              <a:lnSpc>
                <a:spcPct val="90000"/>
              </a:lnSpc>
              <a:spcAft>
                <a:spcPct val="35000"/>
              </a:spcAft>
            </a:pPr>
            <a:r>
              <a:rPr lang="en-US" sz="1600" dirty="0">
                <a:solidFill>
                  <a:schemeClr val="bg1"/>
                </a:solidFill>
              </a:rPr>
              <a:t>  1. Chemistry for ultra-filtration system.</a:t>
            </a:r>
          </a:p>
          <a:p>
            <a:pPr lvl="0" defTabSz="533400">
              <a:lnSpc>
                <a:spcPct val="90000"/>
              </a:lnSpc>
              <a:spcAft>
                <a:spcPct val="35000"/>
              </a:spcAft>
            </a:pPr>
            <a:r>
              <a:rPr lang="en-US" sz="1600" dirty="0">
                <a:solidFill>
                  <a:schemeClr val="bg1"/>
                </a:solidFill>
              </a:rPr>
              <a:t>  2. Best technology with Return on Investment  </a:t>
            </a:r>
          </a:p>
          <a:p>
            <a:pPr lvl="0" defTabSz="533400">
              <a:lnSpc>
                <a:spcPct val="90000"/>
              </a:lnSpc>
              <a:spcAft>
                <a:spcPct val="35000"/>
              </a:spcAft>
            </a:pPr>
            <a:r>
              <a:rPr lang="en-US" sz="1600" dirty="0">
                <a:solidFill>
                  <a:schemeClr val="bg1"/>
                </a:solidFill>
              </a:rPr>
              <a:t>      of less 1 year.</a:t>
            </a:r>
          </a:p>
          <a:p>
            <a:pPr lvl="0" defTabSz="533400">
              <a:lnSpc>
                <a:spcPct val="90000"/>
              </a:lnSpc>
              <a:spcAft>
                <a:spcPct val="35000"/>
              </a:spcAft>
            </a:pPr>
            <a:r>
              <a:rPr lang="en-US" sz="1600" dirty="0">
                <a:solidFill>
                  <a:schemeClr val="bg1"/>
                </a:solidFill>
              </a:rPr>
              <a:t>  3. Complex drain lines.</a:t>
            </a:r>
          </a:p>
          <a:p>
            <a:pPr lvl="0" defTabSz="533400">
              <a:lnSpc>
                <a:spcPct val="90000"/>
              </a:lnSpc>
              <a:spcAft>
                <a:spcPct val="35000"/>
              </a:spcAft>
            </a:pPr>
            <a:r>
              <a:rPr lang="en-US" sz="1600" dirty="0">
                <a:solidFill>
                  <a:schemeClr val="bg1"/>
                </a:solidFill>
              </a:rPr>
              <a:t>  4. Control the waste water spec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093734" y="3154450"/>
            <a:ext cx="3845479" cy="25813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297843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2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37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91470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Table 14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xmlns="" val="1533484815"/>
              </p:ext>
            </p:extLst>
          </p:nvPr>
        </p:nvGraphicFramePr>
        <p:xfrm>
          <a:off x="10632" y="1283727"/>
          <a:ext cx="9133367" cy="1273964"/>
        </p:xfrm>
        <a:graphic>
          <a:graphicData uri="http://schemas.openxmlformats.org/drawingml/2006/table">
            <a:tbl>
              <a:tblPr/>
              <a:tblGrid>
                <a:gridCol w="1628163"/>
                <a:gridCol w="1816924"/>
                <a:gridCol w="2030681"/>
                <a:gridCol w="3657599"/>
              </a:tblGrid>
              <a:tr h="298604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2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Water use in the preceding years and future needs</a:t>
                      </a:r>
                      <a:endParaRPr lang="en-US" sz="12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70"/>
                        </a:spcAft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</a:pPr>
                      <a:endParaRPr lang="en-US" sz="1600" dirty="0">
                        <a:solidFill>
                          <a:schemeClr val="bg1"/>
                        </a:solidFill>
                        <a:latin typeface="Arial"/>
                        <a:ea typeface="宋体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70"/>
                        </a:spcAft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</a:pPr>
                      <a:endParaRPr lang="en-US" sz="1600" dirty="0">
                        <a:solidFill>
                          <a:schemeClr val="bg1"/>
                        </a:solidFill>
                        <a:latin typeface="Arial"/>
                        <a:ea typeface="宋体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215086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Year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BAI (000,000)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Water use  </a:t>
                      </a:r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000 m</a:t>
                      </a:r>
                      <a:r>
                        <a:rPr lang="en-US" sz="1200" b="0" i="0" u="none" strike="noStrike" baseline="30000" dirty="0" smtClean="0">
                          <a:solidFill>
                            <a:schemeClr val="bg1"/>
                          </a:solidFill>
                          <a:latin typeface="Calibri"/>
                        </a:rPr>
                        <a:t>3</a:t>
                      </a:r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/year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Water efficiency index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197374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20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801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60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0.76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19145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20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1,07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711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0.66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191459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20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1,083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511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6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0.47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3" name="Rectangle 22"/>
          <p:cNvSpPr/>
          <p:nvPr/>
        </p:nvSpPr>
        <p:spPr>
          <a:xfrm>
            <a:off x="0" y="4225685"/>
            <a:ext cx="3223617" cy="1778744"/>
          </a:xfrm>
          <a:prstGeom prst="rect">
            <a:avLst/>
          </a:prstGeom>
          <a:scene3d>
            <a:camera prst="orthographicFront"/>
            <a:lightRig rig="threePt" dir="t">
              <a:rot lat="0" lon="0" rev="7500000"/>
            </a:lightRig>
          </a:scene3d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47650" tIns="247650" rIns="247650" bIns="247650" numCol="1" spcCol="1270" anchor="ctr" anchorCtr="0">
            <a:noAutofit/>
          </a:bodyPr>
          <a:lstStyle/>
          <a:p>
            <a:pPr lvl="0" algn="ctr" defTabSz="28892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US" sz="6500" kern="1200" dirty="0"/>
          </a:p>
        </p:txBody>
      </p:sp>
      <p:graphicFrame>
        <p:nvGraphicFramePr>
          <p:cNvPr id="13" name="Chart 12"/>
          <p:cNvGraphicFramePr/>
          <p:nvPr>
            <p:extLst>
              <p:ext uri="{D42A27DB-BD31-4B8C-83A1-F6EECF244321}">
                <p14:modId xmlns:p14="http://schemas.microsoft.com/office/powerpoint/2010/main" xmlns="" val="2193997187"/>
              </p:ext>
            </p:extLst>
          </p:nvPr>
        </p:nvGraphicFramePr>
        <p:xfrm>
          <a:off x="0" y="2601311"/>
          <a:ext cx="9144000" cy="42757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pSp>
        <p:nvGrpSpPr>
          <p:cNvPr id="16" name="Group 15"/>
          <p:cNvGrpSpPr/>
          <p:nvPr/>
        </p:nvGrpSpPr>
        <p:grpSpPr>
          <a:xfrm>
            <a:off x="0" y="886975"/>
            <a:ext cx="9144000" cy="402040"/>
            <a:chOff x="0" y="0"/>
            <a:chExt cx="9144000" cy="556968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17" name="Rectangle 16"/>
            <p:cNvSpPr/>
            <p:nvPr/>
          </p:nvSpPr>
          <p:spPr>
            <a:xfrm>
              <a:off x="0" y="0"/>
              <a:ext cx="9144000" cy="556968"/>
            </a:xfrm>
            <a:prstGeom prst="rect">
              <a:avLst/>
            </a:prstGeom>
            <a:sp3d prstMaterial="plastic">
              <a:bevelT w="127000" h="25400" prst="relaxedInset"/>
              <a:bevelB w="88900" h="121750" prst="angle"/>
            </a:sp3d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shade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shade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Rectangle 17"/>
            <p:cNvSpPr/>
            <p:nvPr/>
          </p:nvSpPr>
          <p:spPr>
            <a:xfrm>
              <a:off x="0" y="0"/>
              <a:ext cx="9144000" cy="55696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algn="ctr"/>
              <a:r>
                <a:rPr lang="en-US" b="1" dirty="0"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</a:rPr>
                <a:t>Water Efficiency Index</a:t>
              </a:r>
              <a:endParaRPr lang="en-US" b="1" cap="all" dirty="0">
                <a:ln w="9000" cmpd="sng">
                  <a:solidFill>
                    <a:schemeClr val="accent4">
                      <a:shade val="50000"/>
                      <a:satMod val="120000"/>
                    </a:schemeClr>
                  </a:solidFill>
                  <a:prstDash val="solid"/>
                </a:ln>
                <a:gradFill>
                  <a:gsLst>
                    <a:gs pos="0">
                      <a:schemeClr val="accent4">
                        <a:shade val="20000"/>
                        <a:satMod val="245000"/>
                      </a:schemeClr>
                    </a:gs>
                    <a:gs pos="43000">
                      <a:schemeClr val="accent4">
                        <a:satMod val="255000"/>
                      </a:schemeClr>
                    </a:gs>
                    <a:gs pos="48000">
                      <a:schemeClr val="accent4">
                        <a:shade val="85000"/>
                        <a:satMod val="255000"/>
                      </a:schemeClr>
                    </a:gs>
                    <a:gs pos="100000">
                      <a:schemeClr val="accent4">
                        <a:shade val="20000"/>
                        <a:satMod val="245000"/>
                      </a:schemeClr>
                    </a:gs>
                  </a:gsLst>
                  <a:lin ang="5400000"/>
                </a:gra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</p:grpSp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267124" y="4385259"/>
            <a:ext cx="1776987" cy="208150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20" name="Rectangle 19"/>
          <p:cNvSpPr/>
          <p:nvPr/>
        </p:nvSpPr>
        <p:spPr>
          <a:xfrm>
            <a:off x="4898827" y="2640228"/>
            <a:ext cx="4221439" cy="1754326"/>
          </a:xfrm>
          <a:prstGeom prst="rect">
            <a:avLst/>
          </a:prstGeom>
          <a:scene3d>
            <a:camera prst="perspectiveAbove"/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lIns="91440" tIns="45720" rIns="91440" bIns="45720">
            <a:spAutoFit/>
            <a:scene3d>
              <a:camera prst="orthographicFront"/>
              <a:lightRig rig="glow" dir="tl">
                <a:rot lat="0" lon="0" rev="5400000"/>
              </a:lightRig>
            </a:scene3d>
            <a:sp3d contourW="12700">
              <a:bevelT w="25400" h="25400"/>
              <a:contourClr>
                <a:schemeClr val="accent6">
                  <a:shade val="73000"/>
                </a:schemeClr>
              </a:contourClr>
            </a:sp3d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400" b="1" dirty="0" smtClean="0">
                <a:ln w="11430"/>
                <a:gradFill>
                  <a:gsLst>
                    <a:gs pos="0">
                      <a:schemeClr val="accent6">
                        <a:tint val="90000"/>
                        <a:satMod val="120000"/>
                      </a:schemeClr>
                    </a:gs>
                    <a:gs pos="25000">
                      <a:schemeClr val="accent6">
                        <a:tint val="93000"/>
                        <a:satMod val="120000"/>
                      </a:schemeClr>
                    </a:gs>
                    <a:gs pos="50000">
                      <a:schemeClr val="accent6">
                        <a:shade val="89000"/>
                        <a:satMod val="110000"/>
                      </a:schemeClr>
                    </a:gs>
                    <a:gs pos="75000">
                      <a:schemeClr val="accent6">
                        <a:tint val="93000"/>
                        <a:satMod val="120000"/>
                      </a:schemeClr>
                    </a:gs>
                    <a:gs pos="100000">
                      <a:schemeClr val="accent6">
                        <a:tint val="90000"/>
                        <a:satMod val="120000"/>
                      </a:schemeClr>
                    </a:gs>
                  </a:gsLst>
                  <a:lin ang="5400000"/>
                </a:gra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  <a:reflection blurRad="6350" stA="50000" endA="300" endPos="50000" dist="60007" dir="5400000" sy="-100000" algn="bl" rotWithShape="0"/>
                </a:effectLst>
              </a:rPr>
              <a:t>Total      aving per year</a:t>
            </a:r>
            <a:r>
              <a:rPr lang="en-US" sz="3600" b="1" dirty="0" smtClean="0">
                <a:ln w="11430"/>
                <a:gradFill>
                  <a:gsLst>
                    <a:gs pos="0">
                      <a:schemeClr val="accent6">
                        <a:tint val="90000"/>
                        <a:satMod val="120000"/>
                      </a:schemeClr>
                    </a:gs>
                    <a:gs pos="25000">
                      <a:schemeClr val="accent6">
                        <a:tint val="93000"/>
                        <a:satMod val="120000"/>
                      </a:schemeClr>
                    </a:gs>
                    <a:gs pos="50000">
                      <a:schemeClr val="accent6">
                        <a:shade val="89000"/>
                        <a:satMod val="110000"/>
                      </a:schemeClr>
                    </a:gs>
                    <a:gs pos="75000">
                      <a:schemeClr val="accent6">
                        <a:tint val="93000"/>
                        <a:satMod val="120000"/>
                      </a:schemeClr>
                    </a:gs>
                    <a:gs pos="100000">
                      <a:schemeClr val="accent6">
                        <a:tint val="90000"/>
                        <a:satMod val="120000"/>
                      </a:schemeClr>
                    </a:gs>
                  </a:gsLst>
                  <a:lin ang="5400000"/>
                </a:gra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  <a:reflection blurRad="6350" stA="50000" endA="300" endPos="50000" dist="60007" dir="5400000" sy="-100000" algn="bl" rotWithShape="0"/>
                </a:effectLst>
              </a:rPr>
              <a:t> SGD1.2M </a:t>
            </a:r>
            <a:r>
              <a:rPr lang="en-US" sz="2400" b="1" dirty="0" smtClean="0">
                <a:ln w="11430"/>
                <a:gradFill>
                  <a:gsLst>
                    <a:gs pos="0">
                      <a:schemeClr val="accent6">
                        <a:tint val="90000"/>
                        <a:satMod val="120000"/>
                      </a:schemeClr>
                    </a:gs>
                    <a:gs pos="25000">
                      <a:schemeClr val="accent6">
                        <a:tint val="93000"/>
                        <a:satMod val="120000"/>
                      </a:schemeClr>
                    </a:gs>
                    <a:gs pos="50000">
                      <a:schemeClr val="accent6">
                        <a:shade val="89000"/>
                        <a:satMod val="110000"/>
                      </a:schemeClr>
                    </a:gs>
                    <a:gs pos="75000">
                      <a:schemeClr val="accent6">
                        <a:tint val="93000"/>
                        <a:satMod val="120000"/>
                      </a:schemeClr>
                    </a:gs>
                    <a:gs pos="100000">
                      <a:schemeClr val="accent6">
                        <a:tint val="90000"/>
                        <a:satMod val="120000"/>
                      </a:schemeClr>
                    </a:gs>
                  </a:gsLst>
                  <a:lin ang="5400000"/>
                </a:gra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  <a:reflection blurRad="6350" stA="50000" endA="300" endPos="50000" dist="60007" dir="5400000" sy="-100000" algn="bl" rotWithShape="0"/>
                </a:effectLst>
              </a:rPr>
              <a:t>and Improved WEI by </a:t>
            </a:r>
            <a:r>
              <a:rPr lang="en-US" sz="3600" b="1" dirty="0" smtClean="0">
                <a:ln w="11430"/>
                <a:gradFill>
                  <a:gsLst>
                    <a:gs pos="0">
                      <a:schemeClr val="accent6">
                        <a:tint val="90000"/>
                        <a:satMod val="120000"/>
                      </a:schemeClr>
                    </a:gs>
                    <a:gs pos="25000">
                      <a:schemeClr val="accent6">
                        <a:tint val="93000"/>
                        <a:satMod val="120000"/>
                      </a:schemeClr>
                    </a:gs>
                    <a:gs pos="50000">
                      <a:schemeClr val="accent6">
                        <a:shade val="89000"/>
                        <a:satMod val="110000"/>
                      </a:schemeClr>
                    </a:gs>
                    <a:gs pos="75000">
                      <a:schemeClr val="accent6">
                        <a:tint val="93000"/>
                        <a:satMod val="120000"/>
                      </a:schemeClr>
                    </a:gs>
                    <a:gs pos="100000">
                      <a:schemeClr val="accent6">
                        <a:tint val="90000"/>
                        <a:satMod val="120000"/>
                      </a:schemeClr>
                    </a:gs>
                  </a:gsLst>
                  <a:lin ang="5400000"/>
                </a:gradFill>
                <a:effectLst>
                  <a:outerShdw blurRad="80000" dist="40000" dir="5040000" algn="tl">
                    <a:srgbClr val="000000">
                      <a:alpha val="30000"/>
                    </a:srgbClr>
                  </a:outerShdw>
                  <a:reflection blurRad="6350" stA="50000" endA="300" endPos="50000" dist="60007" dir="5400000" sy="-100000" algn="bl" rotWithShape="0"/>
                </a:effectLst>
              </a:rPr>
              <a:t>29%</a:t>
            </a:r>
            <a:endParaRPr lang="en-US" sz="3600" b="1" dirty="0">
              <a:ln w="11430"/>
              <a:gradFill>
                <a:gsLst>
                  <a:gs pos="0">
                    <a:schemeClr val="accent6">
                      <a:tint val="90000"/>
                      <a:satMod val="120000"/>
                    </a:schemeClr>
                  </a:gs>
                  <a:gs pos="25000">
                    <a:schemeClr val="accent6">
                      <a:tint val="93000"/>
                      <a:satMod val="120000"/>
                    </a:schemeClr>
                  </a:gs>
                  <a:gs pos="50000">
                    <a:schemeClr val="accent6">
                      <a:shade val="89000"/>
                      <a:satMod val="110000"/>
                    </a:schemeClr>
                  </a:gs>
                  <a:gs pos="75000">
                    <a:schemeClr val="accent6">
                      <a:tint val="93000"/>
                      <a:satMod val="120000"/>
                    </a:schemeClr>
                  </a:gs>
                  <a:gs pos="100000">
                    <a:schemeClr val="accent6">
                      <a:tint val="90000"/>
                      <a:satMod val="120000"/>
                    </a:schemeClr>
                  </a:gs>
                </a:gsLst>
                <a:lin ang="5400000"/>
              </a:gradFill>
              <a:effectLst>
                <a:outerShdw blurRad="80000" dist="40000" dir="5040000" algn="tl">
                  <a:srgbClr val="000000">
                    <a:alpha val="30000"/>
                  </a:srgbClr>
                </a:outerShdw>
                <a:reflection blurRad="6350" stA="50000" endA="300" endPos="50000" dist="60007" dir="5400000" sy="-100000" algn="bl" rotWithShape="0"/>
              </a:effectLst>
            </a:endParaRPr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 xmlns="">
                  <a14:imgLayer r:embed="rId9">
                    <a14:imgEffect>
                      <a14:backgroundRemoval t="0" b="96040" l="5556" r="96667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6086211" y="2638882"/>
            <a:ext cx="508675" cy="780934"/>
          </a:xfrm>
          <a:prstGeom prst="rect">
            <a:avLst/>
          </a:prstGeom>
        </p:spPr>
      </p:pic>
      <p:sp>
        <p:nvSpPr>
          <p:cNvPr id="24" name="Title 1"/>
          <p:cNvSpPr txBox="1">
            <a:spLocks/>
          </p:cNvSpPr>
          <p:nvPr/>
        </p:nvSpPr>
        <p:spPr>
          <a:xfrm>
            <a:off x="993594" y="382930"/>
            <a:ext cx="5224584" cy="41717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US" dirty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Project Achievements-Financial </a:t>
            </a:r>
            <a:r>
              <a:rPr lang="en-US" dirty="0" smtClean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Benefits</a:t>
            </a:r>
            <a:endParaRPr lang="en-US" dirty="0">
              <a:solidFill>
                <a:srgbClr val="2875CA"/>
              </a:solidFill>
              <a:latin typeface="Britannic Bold" pitchFamily="34" charset="0"/>
              <a:ea typeface="+mj-ea"/>
              <a:cs typeface="+mj-cs"/>
            </a:endParaRPr>
          </a:p>
        </p:txBody>
      </p:sp>
      <p:grpSp>
        <p:nvGrpSpPr>
          <p:cNvPr id="31" name="Group 30"/>
          <p:cNvGrpSpPr/>
          <p:nvPr/>
        </p:nvGrpSpPr>
        <p:grpSpPr>
          <a:xfrm rot="264182">
            <a:off x="86596" y="56966"/>
            <a:ext cx="777240" cy="777240"/>
            <a:chOff x="3728638" y="1092389"/>
            <a:chExt cx="914400" cy="914400"/>
          </a:xfrm>
        </p:grpSpPr>
        <p:grpSp>
          <p:nvGrpSpPr>
            <p:cNvPr id="32" name="Group 31"/>
            <p:cNvGrpSpPr/>
            <p:nvPr/>
          </p:nvGrpSpPr>
          <p:grpSpPr>
            <a:xfrm>
              <a:off x="3728638" y="1092389"/>
              <a:ext cx="914400" cy="914400"/>
              <a:chOff x="2378075" y="502896"/>
              <a:chExt cx="2066925" cy="2066925"/>
            </a:xfrm>
          </p:grpSpPr>
          <p:grpSp>
            <p:nvGrpSpPr>
              <p:cNvPr id="34" name="Group 28"/>
              <p:cNvGrpSpPr>
                <a:grpSpLocks/>
              </p:cNvGrpSpPr>
              <p:nvPr/>
            </p:nvGrpSpPr>
            <p:grpSpPr bwMode="auto">
              <a:xfrm>
                <a:off x="2378075" y="502896"/>
                <a:ext cx="2066925" cy="2066925"/>
                <a:chOff x="2333625" y="219075"/>
                <a:chExt cx="2066236" cy="2066236"/>
              </a:xfrm>
            </p:grpSpPr>
            <p:grpSp>
              <p:nvGrpSpPr>
                <p:cNvPr id="40" name="Group 154"/>
                <p:cNvGrpSpPr>
                  <a:grpSpLocks/>
                </p:cNvGrpSpPr>
                <p:nvPr/>
              </p:nvGrpSpPr>
              <p:grpSpPr bwMode="auto">
                <a:xfrm>
                  <a:off x="2333625" y="219075"/>
                  <a:ext cx="2066236" cy="2066236"/>
                  <a:chOff x="2844111" y="1118742"/>
                  <a:chExt cx="3508375" cy="3508375"/>
                </a:xfrm>
              </p:grpSpPr>
              <p:sp>
                <p:nvSpPr>
                  <p:cNvPr id="42" name="Freeform 6"/>
                  <p:cNvSpPr>
                    <a:spLocks noEditPoints="1"/>
                  </p:cNvSpPr>
                  <p:nvPr>
                    <p:custDataLst>
                      <p:tags r:id="rId2"/>
                    </p:custDataLst>
                  </p:nvPr>
                </p:nvSpPr>
                <p:spPr bwMode="gray">
                  <a:xfrm rot="3600000">
                    <a:off x="2844111" y="1118742"/>
                    <a:ext cx="3508375" cy="3508375"/>
                  </a:xfrm>
                  <a:custGeom>
                    <a:avLst/>
                    <a:gdLst/>
                    <a:ahLst/>
                    <a:cxnLst>
                      <a:cxn ang="0">
                        <a:pos x="292" y="0"/>
                      </a:cxn>
                      <a:cxn ang="0">
                        <a:pos x="0" y="293"/>
                      </a:cxn>
                      <a:cxn ang="0">
                        <a:pos x="292" y="585"/>
                      </a:cxn>
                      <a:cxn ang="0">
                        <a:pos x="585" y="293"/>
                      </a:cxn>
                      <a:cxn ang="0">
                        <a:pos x="292" y="0"/>
                      </a:cxn>
                      <a:cxn ang="0">
                        <a:pos x="292" y="539"/>
                      </a:cxn>
                      <a:cxn ang="0">
                        <a:pos x="46" y="293"/>
                      </a:cxn>
                      <a:cxn ang="0">
                        <a:pos x="292" y="46"/>
                      </a:cxn>
                      <a:cxn ang="0">
                        <a:pos x="539" y="293"/>
                      </a:cxn>
                      <a:cxn ang="0">
                        <a:pos x="292" y="539"/>
                      </a:cxn>
                    </a:cxnLst>
                    <a:rect l="0" t="0" r="r" b="b"/>
                    <a:pathLst>
                      <a:path w="585" h="585">
                        <a:moveTo>
                          <a:pt x="292" y="0"/>
                        </a:moveTo>
                        <a:cubicBezTo>
                          <a:pt x="131" y="0"/>
                          <a:pt x="0" y="131"/>
                          <a:pt x="0" y="293"/>
                        </a:cubicBezTo>
                        <a:cubicBezTo>
                          <a:pt x="0" y="454"/>
                          <a:pt x="131" y="585"/>
                          <a:pt x="292" y="585"/>
                        </a:cubicBezTo>
                        <a:cubicBezTo>
                          <a:pt x="454" y="585"/>
                          <a:pt x="585" y="454"/>
                          <a:pt x="585" y="293"/>
                        </a:cubicBezTo>
                        <a:cubicBezTo>
                          <a:pt x="585" y="131"/>
                          <a:pt x="454" y="0"/>
                          <a:pt x="292" y="0"/>
                        </a:cubicBezTo>
                        <a:close/>
                        <a:moveTo>
                          <a:pt x="292" y="539"/>
                        </a:moveTo>
                        <a:cubicBezTo>
                          <a:pt x="156" y="539"/>
                          <a:pt x="46" y="429"/>
                          <a:pt x="46" y="293"/>
                        </a:cubicBezTo>
                        <a:cubicBezTo>
                          <a:pt x="46" y="156"/>
                          <a:pt x="156" y="46"/>
                          <a:pt x="292" y="46"/>
                        </a:cubicBezTo>
                        <a:cubicBezTo>
                          <a:pt x="429" y="46"/>
                          <a:pt x="539" y="156"/>
                          <a:pt x="539" y="293"/>
                        </a:cubicBezTo>
                        <a:cubicBezTo>
                          <a:pt x="539" y="429"/>
                          <a:pt x="429" y="539"/>
                          <a:pt x="292" y="539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4"/>
                  </a:lnRef>
                  <a:fillRef idx="3">
                    <a:schemeClr val="accent4"/>
                  </a:fillRef>
                  <a:effectRef idx="3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sz="900"/>
                  </a:p>
                </p:txBody>
              </p:sp>
              <p:sp>
                <p:nvSpPr>
                  <p:cNvPr id="43" name="Ellipse 12"/>
                  <p:cNvSpPr>
                    <a:spLocks noChangeArrowheads="1"/>
                  </p:cNvSpPr>
                  <p:nvPr/>
                </p:nvSpPr>
                <p:spPr bwMode="auto">
                  <a:xfrm>
                    <a:off x="3948899" y="2247780"/>
                    <a:ext cx="1279938" cy="127993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353637"/>
                      </a:gs>
                      <a:gs pos="100000">
                        <a:srgbClr val="151616"/>
                      </a:gs>
                    </a:gsLst>
                    <a:path path="shape">
                      <a:fillToRect l="50000" t="50000" r="50000" b="50000"/>
                    </a:path>
                  </a:gradFill>
                  <a:ln w="9525">
                    <a:solidFill>
                      <a:srgbClr val="191919"/>
                    </a:solidFill>
                    <a:round/>
                    <a:headEnd/>
                    <a:tailEnd/>
                  </a:ln>
                  <a:effectLst>
                    <a:outerShdw dist="23000" dir="5400000" rotWithShape="0">
                      <a:srgbClr val="808080">
                        <a:alpha val="34999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latin typeface="Calibri" charset="0"/>
                    </a:endParaRPr>
                  </a:p>
                </p:txBody>
              </p:sp>
              <p:sp>
                <p:nvSpPr>
                  <p:cNvPr id="44" name="Ellipse 13"/>
                  <p:cNvSpPr/>
                  <p:nvPr/>
                </p:nvSpPr>
                <p:spPr bwMode="auto">
                  <a:xfrm>
                    <a:off x="4118660" y="2304368"/>
                    <a:ext cx="940416" cy="692512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tx2">
                          <a:lumMod val="40000"/>
                          <a:lumOff val="60000"/>
                          <a:alpha val="0"/>
                        </a:schemeClr>
                      </a:gs>
                      <a:gs pos="100000">
                        <a:schemeClr val="bg1">
                          <a:alpha val="77000"/>
                        </a:schemeClr>
                      </a:gs>
                    </a:gsLst>
                    <a:lin ang="162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ea typeface="ＭＳ Ｐゴシック" charset="-128"/>
                    </a:endParaRPr>
                  </a:p>
                </p:txBody>
              </p:sp>
              <p:sp>
                <p:nvSpPr>
                  <p:cNvPr id="45" name="Block Arc 44"/>
                  <p:cNvSpPr/>
                  <p:nvPr/>
                </p:nvSpPr>
                <p:spPr>
                  <a:xfrm rot="18729919">
                    <a:off x="3230788" y="1508111"/>
                    <a:ext cx="2726940" cy="2729633"/>
                  </a:xfrm>
                  <a:prstGeom prst="blockArc">
                    <a:avLst>
                      <a:gd name="adj1" fmla="val 574634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900"/>
                  </a:p>
                </p:txBody>
              </p:sp>
              <p:sp>
                <p:nvSpPr>
                  <p:cNvPr id="46" name="Block Arc 45"/>
                  <p:cNvSpPr/>
                  <p:nvPr/>
                </p:nvSpPr>
                <p:spPr>
                  <a:xfrm rot="1352524">
                    <a:off x="3229440" y="1509459"/>
                    <a:ext cx="2729633" cy="2726940"/>
                  </a:xfrm>
                  <a:prstGeom prst="blockArc">
                    <a:avLst>
                      <a:gd name="adj1" fmla="val 596470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7" name="Block Arc 46"/>
                  <p:cNvSpPr/>
                  <p:nvPr/>
                </p:nvSpPr>
                <p:spPr>
                  <a:xfrm rot="5869595">
                    <a:off x="3230788" y="1508111"/>
                    <a:ext cx="2726940" cy="2729633"/>
                  </a:xfrm>
                  <a:prstGeom prst="blockArc">
                    <a:avLst>
                      <a:gd name="adj1" fmla="val 5627424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8" name="Block Arc 47"/>
                  <p:cNvSpPr/>
                  <p:nvPr/>
                </p:nvSpPr>
                <p:spPr>
                  <a:xfrm rot="10291675">
                    <a:off x="3229440" y="1509459"/>
                    <a:ext cx="2729633" cy="2726940"/>
                  </a:xfrm>
                  <a:prstGeom prst="blockArc">
                    <a:avLst>
                      <a:gd name="adj1" fmla="val 5803831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9" name="Block Arc 48"/>
                  <p:cNvSpPr/>
                  <p:nvPr/>
                </p:nvSpPr>
                <p:spPr>
                  <a:xfrm rot="14301489">
                    <a:off x="3230788" y="1508111"/>
                    <a:ext cx="2726940" cy="2729633"/>
                  </a:xfrm>
                  <a:prstGeom prst="blockArc">
                    <a:avLst>
                      <a:gd name="adj1" fmla="val 6140645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</p:grpSp>
            <p:sp>
              <p:nvSpPr>
                <p:cNvPr id="41" name="Ellipse 15"/>
                <p:cNvSpPr/>
                <p:nvPr/>
              </p:nvSpPr>
              <p:spPr bwMode="auto">
                <a:xfrm>
                  <a:off x="2763695" y="465055"/>
                  <a:ext cx="1237837" cy="91568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900" dirty="0"/>
                </a:p>
              </p:txBody>
            </p:sp>
          </p:grpSp>
          <p:sp>
            <p:nvSpPr>
              <p:cNvPr id="35" name="TextBox 29"/>
              <p:cNvSpPr txBox="1">
                <a:spLocks noChangeArrowheads="1"/>
              </p:cNvSpPr>
              <p:nvPr/>
            </p:nvSpPr>
            <p:spPr bwMode="auto">
              <a:xfrm>
                <a:off x="2754110" y="771753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D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36" name="TextBox 29"/>
              <p:cNvSpPr txBox="1">
                <a:spLocks noChangeArrowheads="1"/>
              </p:cNvSpPr>
              <p:nvPr/>
            </p:nvSpPr>
            <p:spPr bwMode="auto">
              <a:xfrm>
                <a:off x="2584640" y="1514847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M</a:t>
                </a:r>
              </a:p>
            </p:txBody>
          </p:sp>
          <p:sp>
            <p:nvSpPr>
              <p:cNvPr id="37" name="TextBox 29"/>
              <p:cNvSpPr txBox="1">
                <a:spLocks noChangeArrowheads="1"/>
              </p:cNvSpPr>
              <p:nvPr/>
            </p:nvSpPr>
            <p:spPr bwMode="auto">
              <a:xfrm>
                <a:off x="3253164" y="1880209"/>
                <a:ext cx="289718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A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38" name="TextBox 29"/>
              <p:cNvSpPr txBox="1">
                <a:spLocks noChangeArrowheads="1"/>
              </p:cNvSpPr>
              <p:nvPr/>
            </p:nvSpPr>
            <p:spPr bwMode="auto">
              <a:xfrm>
                <a:off x="3844923" y="13567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I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39" name="TextBox 29"/>
              <p:cNvSpPr txBox="1">
                <a:spLocks noChangeArrowheads="1"/>
              </p:cNvSpPr>
              <p:nvPr/>
            </p:nvSpPr>
            <p:spPr bwMode="auto">
              <a:xfrm>
                <a:off x="3487620" y="7158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C</a:t>
                </a:r>
              </a:p>
            </p:txBody>
          </p:sp>
        </p:grpSp>
        <p:sp>
          <p:nvSpPr>
            <p:cNvPr id="33" name="TextBox 29"/>
            <p:cNvSpPr txBox="1">
              <a:spLocks noChangeArrowheads="1"/>
            </p:cNvSpPr>
            <p:nvPr/>
          </p:nvSpPr>
          <p:spPr bwMode="auto">
            <a:xfrm rot="21335818">
              <a:off x="4093795" y="1350066"/>
              <a:ext cx="128171" cy="398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da-DK" sz="1600" b="1" dirty="0" smtClean="0">
                  <a:solidFill>
                    <a:schemeClr val="bg1"/>
                  </a:solidFill>
                </a:rPr>
                <a:t>I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12" name="Shape 11"/>
          <p:cNvSpPr/>
          <p:nvPr/>
        </p:nvSpPr>
        <p:spPr>
          <a:xfrm rot="2039017">
            <a:off x="1373727" y="3245094"/>
            <a:ext cx="4825472" cy="1542449"/>
          </a:xfrm>
          <a:prstGeom prst="swooshArrow">
            <a:avLst>
              <a:gd name="adj1" fmla="val 24156"/>
              <a:gd name="adj2" fmla="val 30520"/>
            </a:avLst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0705393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50"/>
                                        <p:tgtEl>
                                          <p:spTgt spid="13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0" dur="250"/>
                                        <p:tgtEl>
                                          <p:spTgt spid="13">
                                            <p:graphicEl>
                                              <a:chart seriesIdx="0" categoryIdx="0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3" dur="250"/>
                                        <p:tgtEl>
                                          <p:spTgt spid="13">
                                            <p:graphicEl>
                                              <a:chart seriesIdx="0" categoryIdx="1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6" dur="250"/>
                                        <p:tgtEl>
                                          <p:spTgt spid="13">
                                            <p:graphicEl>
                                              <a:chart seriesIdx="0" categoryIdx="2" bldStep="ptIn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50"/>
                            </p:stCondLst>
                            <p:childTnLst>
                              <p:par>
                                <p:cTn id="18" presetID="22" presetClass="entr" presetSubtype="1" fill="hold" grpId="0" nodeType="afterEffect">
                                  <p:stCondLst>
                                    <p:cond delay="15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18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4" name="chimes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  <p:par>
                                <p:cTn id="21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8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34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35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6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37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38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39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40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41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42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4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50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51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2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53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4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55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56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57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2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13" grpId="0" uiExpand="1">
        <p:bldSub>
          <a:bldChart bld="seriesEl"/>
        </p:bldSub>
      </p:bldGraphic>
      <p:bldP spid="20" grpId="0" animBg="1"/>
      <p:bldP spid="12" grpId="0" animBg="1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4647344"/>
            <a:ext cx="9144000" cy="2268380"/>
          </a:xfrm>
          <a:prstGeom prst="rect">
            <a:avLst/>
          </a:prstGeom>
        </p:spPr>
      </p:pic>
      <p:cxnSp>
        <p:nvCxnSpPr>
          <p:cNvPr id="2" name="Straight Connector 1"/>
          <p:cNvCxnSpPr/>
          <p:nvPr/>
        </p:nvCxnSpPr>
        <p:spPr>
          <a:xfrm flipH="1">
            <a:off x="198016" y="1137682"/>
            <a:ext cx="1189" cy="5720317"/>
          </a:xfrm>
          <a:prstGeom prst="line">
            <a:avLst/>
          </a:prstGeom>
          <a:noFill/>
          <a:ln w="76200" cap="flat" cmpd="sng" algn="ctr">
            <a:gradFill flip="none" rotWithShape="1">
              <a:gsLst>
                <a:gs pos="0">
                  <a:srgbClr val="3C7BC7">
                    <a:alpha val="0"/>
                  </a:srgbClr>
                </a:gs>
                <a:gs pos="50000">
                  <a:srgbClr val="3C7BC7"/>
                </a:gs>
                <a:gs pos="99000">
                  <a:srgbClr val="3C7BC7">
                    <a:alpha val="0"/>
                  </a:srgbClr>
                </a:gs>
              </a:gsLst>
              <a:lin ang="0" scaled="1"/>
              <a:tileRect/>
            </a:gradFill>
            <a:prstDash val="solid"/>
          </a:ln>
          <a:effectLst/>
        </p:spPr>
      </p:cxnSp>
      <p:sp>
        <p:nvSpPr>
          <p:cNvPr id="3" name="Rectangle 2"/>
          <p:cNvSpPr/>
          <p:nvPr/>
        </p:nvSpPr>
        <p:spPr>
          <a:xfrm>
            <a:off x="176126" y="2210653"/>
            <a:ext cx="1663307" cy="2436691"/>
          </a:xfrm>
          <a:prstGeom prst="rect">
            <a:avLst/>
          </a:prstGeom>
          <a:gradFill flip="none" rotWithShape="1">
            <a:gsLst>
              <a:gs pos="0">
                <a:srgbClr val="4F81BD">
                  <a:shade val="51000"/>
                  <a:satMod val="130000"/>
                </a:srgbClr>
              </a:gs>
              <a:gs pos="100000">
                <a:srgbClr val="3C7BC7"/>
              </a:gs>
            </a:gsLst>
            <a:lin ang="16200000" scaled="1"/>
            <a:tileRect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chemeClr val="bg1"/>
                </a:solidFill>
              </a:rPr>
              <a:t>Established Water Efficiency Management System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cxnSp>
        <p:nvCxnSpPr>
          <p:cNvPr id="4" name="Straight Connector 3"/>
          <p:cNvCxnSpPr/>
          <p:nvPr/>
        </p:nvCxnSpPr>
        <p:spPr>
          <a:xfrm flipH="1">
            <a:off x="1915264" y="1137684"/>
            <a:ext cx="1191" cy="5720315"/>
          </a:xfrm>
          <a:prstGeom prst="line">
            <a:avLst/>
          </a:prstGeom>
          <a:noFill/>
          <a:ln w="76200" cap="flat" cmpd="sng" algn="ctr">
            <a:gradFill flip="none" rotWithShape="1">
              <a:gsLst>
                <a:gs pos="0">
                  <a:srgbClr val="9BC348">
                    <a:alpha val="0"/>
                  </a:srgbClr>
                </a:gs>
                <a:gs pos="50000">
                  <a:srgbClr val="9BC348"/>
                </a:gs>
                <a:gs pos="99000">
                  <a:srgbClr val="9BC348">
                    <a:alpha val="0"/>
                  </a:srgbClr>
                </a:gs>
              </a:gsLst>
              <a:lin ang="0" scaled="1"/>
              <a:tileRect/>
            </a:gradFill>
            <a:prstDash val="solid"/>
          </a:ln>
          <a:effectLst/>
        </p:spPr>
      </p:cxnSp>
      <p:sp>
        <p:nvSpPr>
          <p:cNvPr id="5" name="Rectangle 4"/>
          <p:cNvSpPr/>
          <p:nvPr/>
        </p:nvSpPr>
        <p:spPr>
          <a:xfrm>
            <a:off x="1893375" y="2210653"/>
            <a:ext cx="1691245" cy="2436691"/>
          </a:xfrm>
          <a:prstGeom prst="rect">
            <a:avLst/>
          </a:prstGeom>
          <a:gradFill rotWithShape="1">
            <a:gsLst>
              <a:gs pos="0">
                <a:srgbClr val="9BBB59">
                  <a:shade val="51000"/>
                  <a:satMod val="130000"/>
                </a:srgbClr>
              </a:gs>
              <a:gs pos="100000">
                <a:srgbClr val="9BC348"/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chemeClr val="bg1"/>
                </a:solidFill>
              </a:rPr>
              <a:t>Setup </a:t>
            </a:r>
            <a:r>
              <a:rPr lang="en-US" sz="1800" dirty="0" smtClean="0">
                <a:solidFill>
                  <a:schemeClr val="bg1"/>
                </a:solidFill>
              </a:rPr>
              <a:t>Feedback and Knowledge Sharing Channel</a:t>
            </a:r>
            <a:endParaRPr kumimoji="0" lang="en-US" sz="18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</a:endParaRPr>
          </a:p>
        </p:txBody>
      </p:sp>
      <p:cxnSp>
        <p:nvCxnSpPr>
          <p:cNvPr id="6" name="Straight Connector 5"/>
          <p:cNvCxnSpPr/>
          <p:nvPr/>
        </p:nvCxnSpPr>
        <p:spPr>
          <a:xfrm flipH="1">
            <a:off x="3666971" y="963965"/>
            <a:ext cx="1191" cy="5894035"/>
          </a:xfrm>
          <a:prstGeom prst="line">
            <a:avLst/>
          </a:prstGeom>
          <a:noFill/>
          <a:ln w="76200" cap="flat" cmpd="sng" algn="ctr">
            <a:gradFill flip="none" rotWithShape="1">
              <a:gsLst>
                <a:gs pos="0">
                  <a:srgbClr val="36B1D2">
                    <a:alpha val="0"/>
                  </a:srgbClr>
                </a:gs>
                <a:gs pos="50000">
                  <a:srgbClr val="36B1D2"/>
                </a:gs>
                <a:gs pos="99000">
                  <a:srgbClr val="36B1D2">
                    <a:alpha val="0"/>
                  </a:srgbClr>
                </a:gs>
              </a:gsLst>
              <a:lin ang="0" scaled="1"/>
              <a:tileRect/>
            </a:gradFill>
            <a:prstDash val="solid"/>
          </a:ln>
          <a:effectLst/>
        </p:spPr>
      </p:cxnSp>
      <p:sp>
        <p:nvSpPr>
          <p:cNvPr id="7" name="Rectangle 6"/>
          <p:cNvSpPr/>
          <p:nvPr/>
        </p:nvSpPr>
        <p:spPr>
          <a:xfrm>
            <a:off x="3645081" y="2210654"/>
            <a:ext cx="1554240" cy="2436691"/>
          </a:xfrm>
          <a:prstGeom prst="rect">
            <a:avLst/>
          </a:prstGeom>
          <a:gradFill rotWithShape="1">
            <a:gsLst>
              <a:gs pos="0">
                <a:srgbClr val="4BACC6">
                  <a:shade val="51000"/>
                  <a:satMod val="130000"/>
                </a:srgbClr>
              </a:gs>
              <a:gs pos="100000">
                <a:srgbClr val="36B1D2"/>
              </a:gs>
            </a:gsLst>
            <a:lin ang="16200000" scaled="0"/>
          </a:gradFill>
          <a:ln>
            <a:noFill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rtlCol="0" anchor="ctr"/>
          <a:lstStyle/>
          <a:p>
            <a:pPr algn="ctr"/>
            <a:r>
              <a:rPr lang="en-US" sz="1800" dirty="0">
                <a:solidFill>
                  <a:schemeClr val="bg1"/>
                </a:solidFill>
              </a:rPr>
              <a:t>Facilities Webportal to manage and monitor facilities </a:t>
            </a:r>
            <a:r>
              <a:rPr lang="en-US" sz="1800" dirty="0" smtClean="0">
                <a:solidFill>
                  <a:schemeClr val="bg1"/>
                </a:solidFill>
              </a:rPr>
              <a:t>operation programs</a:t>
            </a:r>
            <a:endParaRPr lang="en-US" sz="1800" dirty="0">
              <a:solidFill>
                <a:schemeClr val="bg1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91470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0" name="Group 9"/>
          <p:cNvGrpSpPr/>
          <p:nvPr/>
        </p:nvGrpSpPr>
        <p:grpSpPr>
          <a:xfrm rot="264182">
            <a:off x="86596" y="56966"/>
            <a:ext cx="777240" cy="777240"/>
            <a:chOff x="3728638" y="1092389"/>
            <a:chExt cx="914400" cy="914400"/>
          </a:xfrm>
        </p:grpSpPr>
        <p:grpSp>
          <p:nvGrpSpPr>
            <p:cNvPr id="11" name="Group 10"/>
            <p:cNvGrpSpPr/>
            <p:nvPr/>
          </p:nvGrpSpPr>
          <p:grpSpPr>
            <a:xfrm>
              <a:off x="3728638" y="1092389"/>
              <a:ext cx="914400" cy="914400"/>
              <a:chOff x="2378075" y="502896"/>
              <a:chExt cx="2066925" cy="2066925"/>
            </a:xfrm>
          </p:grpSpPr>
          <p:grpSp>
            <p:nvGrpSpPr>
              <p:cNvPr id="13" name="Group 28"/>
              <p:cNvGrpSpPr>
                <a:grpSpLocks/>
              </p:cNvGrpSpPr>
              <p:nvPr/>
            </p:nvGrpSpPr>
            <p:grpSpPr bwMode="auto">
              <a:xfrm>
                <a:off x="2378075" y="502896"/>
                <a:ext cx="2066925" cy="2066925"/>
                <a:chOff x="2333625" y="219075"/>
                <a:chExt cx="2066236" cy="2066236"/>
              </a:xfrm>
            </p:grpSpPr>
            <p:grpSp>
              <p:nvGrpSpPr>
                <p:cNvPr id="19" name="Group 154"/>
                <p:cNvGrpSpPr>
                  <a:grpSpLocks/>
                </p:cNvGrpSpPr>
                <p:nvPr/>
              </p:nvGrpSpPr>
              <p:grpSpPr bwMode="auto">
                <a:xfrm>
                  <a:off x="2333625" y="219075"/>
                  <a:ext cx="2066236" cy="2066236"/>
                  <a:chOff x="2844111" y="1118742"/>
                  <a:chExt cx="3508375" cy="3508375"/>
                </a:xfrm>
              </p:grpSpPr>
              <p:sp>
                <p:nvSpPr>
                  <p:cNvPr id="21" name="Freeform 6"/>
                  <p:cNvSpPr>
                    <a:spLocks noEditPoints="1"/>
                  </p:cNvSpPr>
                  <p:nvPr>
                    <p:custDataLst>
                      <p:tags r:id="rId1"/>
                    </p:custDataLst>
                  </p:nvPr>
                </p:nvSpPr>
                <p:spPr bwMode="gray">
                  <a:xfrm rot="3600000">
                    <a:off x="2844111" y="1118742"/>
                    <a:ext cx="3508375" cy="3508375"/>
                  </a:xfrm>
                  <a:custGeom>
                    <a:avLst/>
                    <a:gdLst/>
                    <a:ahLst/>
                    <a:cxnLst>
                      <a:cxn ang="0">
                        <a:pos x="292" y="0"/>
                      </a:cxn>
                      <a:cxn ang="0">
                        <a:pos x="0" y="293"/>
                      </a:cxn>
                      <a:cxn ang="0">
                        <a:pos x="292" y="585"/>
                      </a:cxn>
                      <a:cxn ang="0">
                        <a:pos x="585" y="293"/>
                      </a:cxn>
                      <a:cxn ang="0">
                        <a:pos x="292" y="0"/>
                      </a:cxn>
                      <a:cxn ang="0">
                        <a:pos x="292" y="539"/>
                      </a:cxn>
                      <a:cxn ang="0">
                        <a:pos x="46" y="293"/>
                      </a:cxn>
                      <a:cxn ang="0">
                        <a:pos x="292" y="46"/>
                      </a:cxn>
                      <a:cxn ang="0">
                        <a:pos x="539" y="293"/>
                      </a:cxn>
                      <a:cxn ang="0">
                        <a:pos x="292" y="539"/>
                      </a:cxn>
                    </a:cxnLst>
                    <a:rect l="0" t="0" r="r" b="b"/>
                    <a:pathLst>
                      <a:path w="585" h="585">
                        <a:moveTo>
                          <a:pt x="292" y="0"/>
                        </a:moveTo>
                        <a:cubicBezTo>
                          <a:pt x="131" y="0"/>
                          <a:pt x="0" y="131"/>
                          <a:pt x="0" y="293"/>
                        </a:cubicBezTo>
                        <a:cubicBezTo>
                          <a:pt x="0" y="454"/>
                          <a:pt x="131" y="585"/>
                          <a:pt x="292" y="585"/>
                        </a:cubicBezTo>
                        <a:cubicBezTo>
                          <a:pt x="454" y="585"/>
                          <a:pt x="585" y="454"/>
                          <a:pt x="585" y="293"/>
                        </a:cubicBezTo>
                        <a:cubicBezTo>
                          <a:pt x="585" y="131"/>
                          <a:pt x="454" y="0"/>
                          <a:pt x="292" y="0"/>
                        </a:cubicBezTo>
                        <a:close/>
                        <a:moveTo>
                          <a:pt x="292" y="539"/>
                        </a:moveTo>
                        <a:cubicBezTo>
                          <a:pt x="156" y="539"/>
                          <a:pt x="46" y="429"/>
                          <a:pt x="46" y="293"/>
                        </a:cubicBezTo>
                        <a:cubicBezTo>
                          <a:pt x="46" y="156"/>
                          <a:pt x="156" y="46"/>
                          <a:pt x="292" y="46"/>
                        </a:cubicBezTo>
                        <a:cubicBezTo>
                          <a:pt x="429" y="46"/>
                          <a:pt x="539" y="156"/>
                          <a:pt x="539" y="293"/>
                        </a:cubicBezTo>
                        <a:cubicBezTo>
                          <a:pt x="539" y="429"/>
                          <a:pt x="429" y="539"/>
                          <a:pt x="292" y="539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4"/>
                  </a:lnRef>
                  <a:fillRef idx="3">
                    <a:schemeClr val="accent4"/>
                  </a:fillRef>
                  <a:effectRef idx="3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sz="900"/>
                  </a:p>
                </p:txBody>
              </p:sp>
              <p:sp>
                <p:nvSpPr>
                  <p:cNvPr id="22" name="Ellipse 12"/>
                  <p:cNvSpPr>
                    <a:spLocks noChangeArrowheads="1"/>
                  </p:cNvSpPr>
                  <p:nvPr/>
                </p:nvSpPr>
                <p:spPr bwMode="auto">
                  <a:xfrm>
                    <a:off x="3948899" y="2247780"/>
                    <a:ext cx="1279938" cy="127993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353637"/>
                      </a:gs>
                      <a:gs pos="100000">
                        <a:srgbClr val="151616"/>
                      </a:gs>
                    </a:gsLst>
                    <a:path path="shape">
                      <a:fillToRect l="50000" t="50000" r="50000" b="50000"/>
                    </a:path>
                  </a:gradFill>
                  <a:ln w="9525">
                    <a:solidFill>
                      <a:srgbClr val="191919"/>
                    </a:solidFill>
                    <a:round/>
                    <a:headEnd/>
                    <a:tailEnd/>
                  </a:ln>
                  <a:effectLst>
                    <a:outerShdw dist="23000" dir="5400000" rotWithShape="0">
                      <a:srgbClr val="808080">
                        <a:alpha val="34999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latin typeface="Calibri" charset="0"/>
                    </a:endParaRPr>
                  </a:p>
                </p:txBody>
              </p:sp>
              <p:sp>
                <p:nvSpPr>
                  <p:cNvPr id="23" name="Ellipse 13"/>
                  <p:cNvSpPr/>
                  <p:nvPr/>
                </p:nvSpPr>
                <p:spPr bwMode="auto">
                  <a:xfrm>
                    <a:off x="4118660" y="2304368"/>
                    <a:ext cx="940416" cy="692512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tx2">
                          <a:lumMod val="40000"/>
                          <a:lumOff val="60000"/>
                          <a:alpha val="0"/>
                        </a:schemeClr>
                      </a:gs>
                      <a:gs pos="100000">
                        <a:schemeClr val="bg1">
                          <a:alpha val="77000"/>
                        </a:schemeClr>
                      </a:gs>
                    </a:gsLst>
                    <a:lin ang="162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ea typeface="ＭＳ Ｐゴシック" charset="-128"/>
                    </a:endParaRPr>
                  </a:p>
                </p:txBody>
              </p:sp>
              <p:sp>
                <p:nvSpPr>
                  <p:cNvPr id="24" name="Block Arc 23"/>
                  <p:cNvSpPr/>
                  <p:nvPr/>
                </p:nvSpPr>
                <p:spPr>
                  <a:xfrm rot="18729919">
                    <a:off x="3230788" y="1508111"/>
                    <a:ext cx="2726940" cy="2729633"/>
                  </a:xfrm>
                  <a:prstGeom prst="blockArc">
                    <a:avLst>
                      <a:gd name="adj1" fmla="val 574634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900"/>
                  </a:p>
                </p:txBody>
              </p:sp>
              <p:sp>
                <p:nvSpPr>
                  <p:cNvPr id="25" name="Block Arc 24"/>
                  <p:cNvSpPr/>
                  <p:nvPr/>
                </p:nvSpPr>
                <p:spPr>
                  <a:xfrm rot="1352524">
                    <a:off x="3229440" y="1509459"/>
                    <a:ext cx="2729633" cy="2726940"/>
                  </a:xfrm>
                  <a:prstGeom prst="blockArc">
                    <a:avLst>
                      <a:gd name="adj1" fmla="val 596470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26" name="Block Arc 25"/>
                  <p:cNvSpPr/>
                  <p:nvPr/>
                </p:nvSpPr>
                <p:spPr>
                  <a:xfrm rot="5869595">
                    <a:off x="3230788" y="1508111"/>
                    <a:ext cx="2726940" cy="2729633"/>
                  </a:xfrm>
                  <a:prstGeom prst="blockArc">
                    <a:avLst>
                      <a:gd name="adj1" fmla="val 5627424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27" name="Block Arc 26"/>
                  <p:cNvSpPr/>
                  <p:nvPr/>
                </p:nvSpPr>
                <p:spPr>
                  <a:xfrm rot="10291675">
                    <a:off x="3229440" y="1509459"/>
                    <a:ext cx="2729633" cy="2726940"/>
                  </a:xfrm>
                  <a:prstGeom prst="blockArc">
                    <a:avLst>
                      <a:gd name="adj1" fmla="val 5803831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28" name="Block Arc 27"/>
                  <p:cNvSpPr/>
                  <p:nvPr/>
                </p:nvSpPr>
                <p:spPr>
                  <a:xfrm rot="14301489">
                    <a:off x="3230788" y="1508111"/>
                    <a:ext cx="2726940" cy="2729633"/>
                  </a:xfrm>
                  <a:prstGeom prst="blockArc">
                    <a:avLst>
                      <a:gd name="adj1" fmla="val 6140645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</p:grpSp>
            <p:sp>
              <p:nvSpPr>
                <p:cNvPr id="20" name="Ellipse 15"/>
                <p:cNvSpPr/>
                <p:nvPr/>
              </p:nvSpPr>
              <p:spPr bwMode="auto">
                <a:xfrm>
                  <a:off x="2763695" y="465055"/>
                  <a:ext cx="1237837" cy="91568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900" dirty="0"/>
                </a:p>
              </p:txBody>
            </p:sp>
          </p:grpSp>
          <p:sp>
            <p:nvSpPr>
              <p:cNvPr id="14" name="TextBox 29"/>
              <p:cNvSpPr txBox="1">
                <a:spLocks noChangeArrowheads="1"/>
              </p:cNvSpPr>
              <p:nvPr/>
            </p:nvSpPr>
            <p:spPr bwMode="auto">
              <a:xfrm>
                <a:off x="2754110" y="771753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D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15" name="TextBox 29"/>
              <p:cNvSpPr txBox="1">
                <a:spLocks noChangeArrowheads="1"/>
              </p:cNvSpPr>
              <p:nvPr/>
            </p:nvSpPr>
            <p:spPr bwMode="auto">
              <a:xfrm>
                <a:off x="2584640" y="1514847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M</a:t>
                </a:r>
              </a:p>
            </p:txBody>
          </p:sp>
          <p:sp>
            <p:nvSpPr>
              <p:cNvPr id="16" name="TextBox 29"/>
              <p:cNvSpPr txBox="1">
                <a:spLocks noChangeArrowheads="1"/>
              </p:cNvSpPr>
              <p:nvPr/>
            </p:nvSpPr>
            <p:spPr bwMode="auto">
              <a:xfrm>
                <a:off x="3253164" y="1880209"/>
                <a:ext cx="289718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A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17" name="TextBox 29"/>
              <p:cNvSpPr txBox="1">
                <a:spLocks noChangeArrowheads="1"/>
              </p:cNvSpPr>
              <p:nvPr/>
            </p:nvSpPr>
            <p:spPr bwMode="auto">
              <a:xfrm>
                <a:off x="3844923" y="13567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I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18" name="TextBox 29"/>
              <p:cNvSpPr txBox="1">
                <a:spLocks noChangeArrowheads="1"/>
              </p:cNvSpPr>
              <p:nvPr/>
            </p:nvSpPr>
            <p:spPr bwMode="auto">
              <a:xfrm>
                <a:off x="3487620" y="7158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C</a:t>
                </a:r>
              </a:p>
            </p:txBody>
          </p:sp>
        </p:grpSp>
        <p:sp>
          <p:nvSpPr>
            <p:cNvPr id="12" name="TextBox 29"/>
            <p:cNvSpPr txBox="1">
              <a:spLocks noChangeArrowheads="1"/>
            </p:cNvSpPr>
            <p:nvPr/>
          </p:nvSpPr>
          <p:spPr bwMode="auto">
            <a:xfrm rot="21335818">
              <a:off x="4043905" y="1353908"/>
              <a:ext cx="128171" cy="398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da-DK" sz="1600" b="1" dirty="0" smtClean="0">
                  <a:solidFill>
                    <a:schemeClr val="bg1"/>
                  </a:solidFill>
                </a:rPr>
                <a:t>C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</p:grpSp>
      <p:pic>
        <p:nvPicPr>
          <p:cNvPr id="29" name="Picture 2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645081" y="529370"/>
            <a:ext cx="1625122" cy="1625122"/>
          </a:xfrm>
          <a:prstGeom prst="rect">
            <a:avLst/>
          </a:prstGeom>
        </p:spPr>
      </p:pic>
      <p:sp>
        <p:nvSpPr>
          <p:cNvPr id="31" name="Rectangle 30"/>
          <p:cNvSpPr/>
          <p:nvPr/>
        </p:nvSpPr>
        <p:spPr>
          <a:xfrm>
            <a:off x="5667705" y="4761516"/>
            <a:ext cx="3060807" cy="584775"/>
          </a:xfrm>
          <a:prstGeom prst="rect">
            <a:avLst/>
          </a:prstGeom>
          <a:effectLst>
            <a:glow rad="2286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/>
            <a:r>
              <a:rPr lang="en-US" sz="1600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ater Efficiency Policy in Dual language</a:t>
            </a:r>
            <a:endParaRPr lang="en-US" sz="160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270203" y="2210654"/>
            <a:ext cx="2032050" cy="255086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pic>
        <p:nvPicPr>
          <p:cNvPr id="34" name="Picture 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240642" y="2210654"/>
            <a:ext cx="1850198" cy="2550862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</p:spPr>
      </p:pic>
      <p:sp>
        <p:nvSpPr>
          <p:cNvPr id="9" name="Title 1"/>
          <p:cNvSpPr txBox="1">
            <a:spLocks/>
          </p:cNvSpPr>
          <p:nvPr/>
        </p:nvSpPr>
        <p:spPr>
          <a:xfrm>
            <a:off x="993594" y="274168"/>
            <a:ext cx="5224584" cy="41717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>
              <a:defRPr/>
            </a:pPr>
            <a:r>
              <a:rPr lang="en-US" sz="2400" dirty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Project </a:t>
            </a:r>
            <a:r>
              <a:rPr lang="en-US" sz="2400" dirty="0" smtClean="0">
                <a:solidFill>
                  <a:srgbClr val="2875CA"/>
                </a:solidFill>
                <a:latin typeface="Britannic Bold" pitchFamily="34" charset="0"/>
                <a:ea typeface="+mj-ea"/>
                <a:cs typeface="+mj-cs"/>
              </a:rPr>
              <a:t>Control and Sustainability</a:t>
            </a:r>
            <a:endParaRPr lang="en-US" sz="2400" dirty="0">
              <a:solidFill>
                <a:srgbClr val="2875CA"/>
              </a:solidFill>
              <a:latin typeface="Britannic Bold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828271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2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0" dur="250" fill="hold"/>
                                        <p:tgtEl>
                                          <p:spTgt spid="2"/>
                                        </p:tgtEl>
                                      </p:cBhvr>
                                      <p:by x="100000" y="2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750"/>
                            </p:stCondLst>
                            <p:childTnLst>
                              <p:par>
                                <p:cTn id="12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2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23" dur="250" fill="hold"/>
                                        <p:tgtEl>
                                          <p:spTgt spid="4"/>
                                        </p:tgtEl>
                                      </p:cBhvr>
                                      <p:by x="100000" y="2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6" dur="250" fill="hold"/>
                                        <p:tgtEl>
                                          <p:spTgt spid="6"/>
                                        </p:tgtEl>
                                      </p:cBhvr>
                                      <p:by x="100000" y="2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2250"/>
                            </p:stCondLst>
                            <p:childTnLst>
                              <p:par>
                                <p:cTn id="38" presetID="17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0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4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25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25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7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25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9" dur="25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25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3" dur="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4" dur="25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7" grpId="0" animBg="1"/>
      <p:bldP spid="31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062" y="733649"/>
            <a:ext cx="9138938" cy="61881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91470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89581" y="248691"/>
            <a:ext cx="8359775" cy="394187"/>
          </a:xfrm>
        </p:spPr>
        <p:txBody>
          <a:bodyPr/>
          <a:lstStyle/>
          <a:p>
            <a:r>
              <a:rPr lang="en-US" sz="1800" dirty="0" smtClean="0">
                <a:latin typeface="Britannic Bold" pitchFamily="34" charset="0"/>
              </a:rPr>
              <a:t>Project Achievements</a:t>
            </a:r>
            <a:endParaRPr lang="en-US" sz="1800" dirty="0">
              <a:latin typeface="Britannic Bold" pitchFamily="34" charset="0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1590047" y="5256382"/>
            <a:ext cx="6939804" cy="1015663"/>
          </a:xfrm>
          <a:prstGeom prst="rect">
            <a:avLst/>
          </a:prstGeom>
          <a:effectLst>
            <a:glow rad="2286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warded </a:t>
            </a:r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ater Efficient Building Certification (Basic) in Jul 2012. </a:t>
            </a:r>
          </a:p>
          <a:p>
            <a:pPr algn="ctr"/>
            <a:endPara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567777" y="2052083"/>
            <a:ext cx="2413314" cy="3189025"/>
          </a:xfrm>
          <a:prstGeom prst="rect">
            <a:avLst/>
          </a:prstGeom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sp>
        <p:nvSpPr>
          <p:cNvPr id="18" name="Rectangle 17"/>
          <p:cNvSpPr/>
          <p:nvPr/>
        </p:nvSpPr>
        <p:spPr>
          <a:xfrm>
            <a:off x="497360" y="5918102"/>
            <a:ext cx="8554147" cy="707886"/>
          </a:xfrm>
          <a:prstGeom prst="rect">
            <a:avLst/>
          </a:prstGeom>
          <a:effectLst>
            <a:glow rad="2286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/>
            <a:r>
              <a:rPr lang="en-GB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hilips </a:t>
            </a:r>
            <a:r>
              <a:rPr lang="en-GB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Lumileds was certified for </a:t>
            </a:r>
            <a:r>
              <a:rPr lang="en-GB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e National Standard </a:t>
            </a:r>
            <a:r>
              <a:rPr lang="en-GB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S577:2012 – Water Efficiency Management System on 31 July 2013</a:t>
            </a:r>
            <a:r>
              <a:rPr lang="en-GB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.</a:t>
            </a:r>
            <a:endPara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17121" y="2126512"/>
            <a:ext cx="2438363" cy="3143832"/>
          </a:xfrm>
          <a:prstGeom prst="rect">
            <a:avLst/>
          </a:prstGeom>
          <a:ln>
            <a:noFill/>
          </a:ln>
          <a:effectLst>
            <a:glow rad="63500">
              <a:schemeClr val="accent4">
                <a:satMod val="175000"/>
                <a:alpha val="40000"/>
              </a:schemeClr>
            </a:glow>
            <a:reflection blurRad="12700" stA="30000" endPos="30000" dist="5000" dir="5400000" sy="-100000" algn="bl" rotWithShape="0"/>
          </a:effectLst>
          <a:scene3d>
            <a:camera prst="perspectiveContrastingLeftFacing">
              <a:rot lat="300000" lon="19800000" rev="0"/>
            </a:camera>
            <a:lightRig rig="threePt" dir="t">
              <a:rot lat="0" lon="0" rev="2700000"/>
            </a:lightRig>
          </a:scene3d>
          <a:sp3d>
            <a:bevelT w="63500" h="50800"/>
          </a:sp3d>
        </p:spPr>
      </p:pic>
      <p:sp>
        <p:nvSpPr>
          <p:cNvPr id="10" name="4-Point Star 9"/>
          <p:cNvSpPr/>
          <p:nvPr/>
        </p:nvSpPr>
        <p:spPr>
          <a:xfrm rot="890656">
            <a:off x="380739" y="1041479"/>
            <a:ext cx="957997" cy="616657"/>
          </a:xfrm>
          <a:prstGeom prst="star4">
            <a:avLst>
              <a:gd name="adj" fmla="val 6656"/>
            </a:avLst>
          </a:prstGeom>
          <a:gradFill flip="none" rotWithShape="1">
            <a:gsLst>
              <a:gs pos="0">
                <a:srgbClr val="FFFFFF"/>
              </a:gs>
              <a:gs pos="63000">
                <a:srgbClr val="FFFFFF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1" name="4-Point Star 10"/>
          <p:cNvSpPr/>
          <p:nvPr/>
        </p:nvSpPr>
        <p:spPr>
          <a:xfrm rot="890656">
            <a:off x="5698811" y="3061933"/>
            <a:ext cx="902548" cy="735243"/>
          </a:xfrm>
          <a:prstGeom prst="star4">
            <a:avLst>
              <a:gd name="adj" fmla="val 6656"/>
            </a:avLst>
          </a:prstGeom>
          <a:gradFill flip="none" rotWithShape="1">
            <a:gsLst>
              <a:gs pos="0">
                <a:srgbClr val="FFFFFF"/>
              </a:gs>
              <a:gs pos="63000">
                <a:srgbClr val="FFFFFF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2" name="4-Point Star 11"/>
          <p:cNvSpPr/>
          <p:nvPr/>
        </p:nvSpPr>
        <p:spPr>
          <a:xfrm rot="890656">
            <a:off x="7840592" y="1193564"/>
            <a:ext cx="1004018" cy="972152"/>
          </a:xfrm>
          <a:prstGeom prst="star4">
            <a:avLst>
              <a:gd name="adj" fmla="val 6656"/>
            </a:avLst>
          </a:prstGeom>
          <a:gradFill flip="none" rotWithShape="1">
            <a:gsLst>
              <a:gs pos="0">
                <a:srgbClr val="FFFFFF"/>
              </a:gs>
              <a:gs pos="63000">
                <a:srgbClr val="FFFFFF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5" name="4-Point Star 14"/>
          <p:cNvSpPr/>
          <p:nvPr/>
        </p:nvSpPr>
        <p:spPr>
          <a:xfrm rot="890656">
            <a:off x="1958108" y="857397"/>
            <a:ext cx="707964" cy="743970"/>
          </a:xfrm>
          <a:prstGeom prst="star4">
            <a:avLst>
              <a:gd name="adj" fmla="val 6656"/>
            </a:avLst>
          </a:prstGeom>
          <a:gradFill flip="none" rotWithShape="1">
            <a:gsLst>
              <a:gs pos="0">
                <a:srgbClr val="FFFFFF"/>
              </a:gs>
              <a:gs pos="63000">
                <a:srgbClr val="FFFFFF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4-Point Star 18"/>
          <p:cNvSpPr/>
          <p:nvPr/>
        </p:nvSpPr>
        <p:spPr>
          <a:xfrm rot="890656">
            <a:off x="4071779" y="2797404"/>
            <a:ext cx="769133" cy="844864"/>
          </a:xfrm>
          <a:prstGeom prst="star4">
            <a:avLst>
              <a:gd name="adj" fmla="val 6656"/>
            </a:avLst>
          </a:prstGeom>
          <a:gradFill flip="none" rotWithShape="1">
            <a:gsLst>
              <a:gs pos="0">
                <a:srgbClr val="FFFFFF"/>
              </a:gs>
              <a:gs pos="63000">
                <a:srgbClr val="FFFFFF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897265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8)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63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88889E-6 3.7037E-7 L 0.20348 3.7037E-7 " pathEditMode="relative" rAng="0" ptsTypes="AA">
                                      <p:cBhvr>
                                        <p:cTn id="1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0174" y="0"/>
                                    </p:animMotion>
                                  </p:childTnLst>
                                </p:cTn>
                              </p:par>
                              <p:par>
                                <p:cTn id="19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5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000"/>
                            </p:stCondLst>
                            <p:childTnLst>
                              <p:par>
                                <p:cTn id="32" presetID="35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38889E-6 -2.96296E-6 L -0.25486 -2.96296E-6 " pathEditMode="relative" rAng="0" ptsTypes="AA">
                                      <p:cBhvr>
                                        <p:cTn id="3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743" y="0"/>
                                    </p:animMotion>
                                  </p:childTnLst>
                                </p:cTn>
                              </p:par>
                              <p:par>
                                <p:cTn id="34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500"/>
                            </p:stCondLst>
                            <p:childTnLst>
                              <p:par>
                                <p:cTn id="39" presetID="31" presetClass="entr" presetSubtype="0" fill="hold" grpId="0" nodeType="after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31" presetClass="exit" presetSubtype="0" fill="hold" grpId="1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 calcmode="lin" valueType="num">
                                      <p:cBhvr>
                                        <p:cTn id="46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31" presetClass="entr" presetSubtype="0" fill="hold" grpId="0" nodeType="withEffect">
                                  <p:stCondLst>
                                    <p:cond delay="2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31" presetClass="exit" presetSubtype="0" fill="hold" grpId="1" nodeType="withEffect">
                                  <p:stCondLst>
                                    <p:cond delay="9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 calcmode="lin" valueType="num">
                                      <p:cBhvr>
                                        <p:cTn id="58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31" presetClass="entr" presetSubtype="0" fill="hold" grpId="0" nodeType="withEffect">
                                  <p:stCondLst>
                                    <p:cond delay="4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31" presetClass="exit" presetSubtype="0" fill="hold" grpId="1" nodeType="withEffect">
                                  <p:stCondLst>
                                    <p:cond delay="11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 calcmode="lin" valueType="num">
                                      <p:cBhvr>
                                        <p:cTn id="70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7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31" presetClass="entr" presetSubtype="0" fill="hold" grpId="0" nodeType="withEffect">
                                  <p:stCondLst>
                                    <p:cond delay="8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31" presetClass="exit" presetSubtype="0" fill="hold" grpId="1" nodeType="withEffect">
                                  <p:stCondLst>
                                    <p:cond delay="14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 calcmode="lin" valueType="num">
                                      <p:cBhvr>
                                        <p:cTn id="82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3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4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31" presetClass="entr" presetSubtype="0" fill="hold" grpId="0" nodeType="withEffect">
                                  <p:stCondLst>
                                    <p:cond delay="9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31" presetClass="exit" presetSubtype="0" fill="hold" grpId="1" nodeType="withEffect">
                                  <p:stCondLst>
                                    <p:cond delay="15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 calcmode="lin" valueType="num">
                                      <p:cBhvr>
                                        <p:cTn id="94" dur="10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10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6" dur="10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7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/>
      <p:bldP spid="18" grpId="0"/>
      <p:bldP spid="10" grpId="0" animBg="1"/>
      <p:bldP spid="10" grpId="1" animBg="1"/>
      <p:bldP spid="11" grpId="0" animBg="1"/>
      <p:bldP spid="11" grpId="1" animBg="1"/>
      <p:bldP spid="12" grpId="0" animBg="1"/>
      <p:bldP spid="12" grpId="1" animBg="1"/>
      <p:bldP spid="15" grpId="0" animBg="1"/>
      <p:bldP spid="15" grpId="1" animBg="1"/>
      <p:bldP spid="19" grpId="0" animBg="1"/>
      <p:bldP spid="19" grpId="1" animBg="1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062" y="746901"/>
            <a:ext cx="9138938" cy="618814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578" r="17815"/>
          <a:stretch/>
        </p:blipFill>
        <p:spPr>
          <a:xfrm>
            <a:off x="4005207" y="2531263"/>
            <a:ext cx="1862191" cy="175829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91470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89581" y="328827"/>
            <a:ext cx="8359775" cy="394187"/>
          </a:xfrm>
        </p:spPr>
        <p:txBody>
          <a:bodyPr/>
          <a:lstStyle/>
          <a:p>
            <a:r>
              <a:rPr lang="en-US" sz="1800" dirty="0" smtClean="0">
                <a:latin typeface="Britannic Bold" pitchFamily="34" charset="0"/>
              </a:rPr>
              <a:t>Project Achievements</a:t>
            </a:r>
            <a:endParaRPr lang="en-US" sz="1800" dirty="0">
              <a:latin typeface="Britannic Bold" pitchFamily="34" charset="0"/>
            </a:endParaRPr>
          </a:p>
        </p:txBody>
      </p:sp>
      <p:sp>
        <p:nvSpPr>
          <p:cNvPr id="90" name="Rectangle 89"/>
          <p:cNvSpPr/>
          <p:nvPr/>
        </p:nvSpPr>
        <p:spPr>
          <a:xfrm>
            <a:off x="435935" y="5509067"/>
            <a:ext cx="8878186" cy="461665"/>
          </a:xfrm>
          <a:prstGeom prst="rect">
            <a:avLst/>
          </a:prstGeom>
          <a:effectLst>
            <a:glow rad="2286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ceived </a:t>
            </a:r>
            <a:r>
              <a:rPr lang="en-U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atermark </a:t>
            </a:r>
            <a:r>
              <a:rPr 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ward from Minister Grace Fu</a:t>
            </a:r>
            <a:endParaRPr lang="en-US"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 xmlns="">
                  <a14:imgLayer r:embed="rId6">
                    <a14:imgEffect>
                      <a14:brightnessContrast bright="4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8682" r="5639" b="20077"/>
          <a:stretch/>
        </p:blipFill>
        <p:spPr>
          <a:xfrm rot="5400000">
            <a:off x="-585893" y="2821440"/>
            <a:ext cx="3299867" cy="160622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384"/>
          <a:stretch/>
        </p:blipFill>
        <p:spPr>
          <a:xfrm rot="5400000">
            <a:off x="3760269" y="2528917"/>
            <a:ext cx="2352065" cy="173963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1798" t="4227" b="3414"/>
          <a:stretch/>
        </p:blipFill>
        <p:spPr>
          <a:xfrm rot="5400000">
            <a:off x="3654346" y="2595616"/>
            <a:ext cx="2076442" cy="1730567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9" cstate="print">
            <a:extLst>
              <a:ext uri="{BEBA8EAE-BF5A-486C-A8C5-ECC9F3942E4B}">
                <a14:imgProps xmlns:a14="http://schemas.microsoft.com/office/drawing/2010/main" xmlns="">
                  <a14:imgLayer r:embed="rId10">
                    <a14:imgEffect>
                      <a14:brightnessContrast bright="4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323" t="9294"/>
          <a:stretch/>
        </p:blipFill>
        <p:spPr>
          <a:xfrm rot="5400000">
            <a:off x="7199706" y="2725725"/>
            <a:ext cx="2202662" cy="1495424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  <p:sp>
        <p:nvSpPr>
          <p:cNvPr id="21" name="Rectangle 20"/>
          <p:cNvSpPr/>
          <p:nvPr/>
        </p:nvSpPr>
        <p:spPr>
          <a:xfrm>
            <a:off x="3947571" y="5074429"/>
            <a:ext cx="1675549" cy="400110"/>
          </a:xfrm>
          <a:prstGeom prst="rect">
            <a:avLst/>
          </a:prstGeom>
          <a:ln>
            <a:noFill/>
          </a:ln>
          <a:effectLst>
            <a:glow rad="228600">
              <a:schemeClr val="accent1">
                <a:satMod val="175000"/>
                <a:alpha val="40000"/>
              </a:schemeClr>
            </a:glow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>
            <a:spAutoFit/>
          </a:bodyPr>
          <a:lstStyle/>
          <a:p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n Sep 2013</a:t>
            </a:r>
            <a:endParaRPr lang="en-US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35935" y="6016821"/>
            <a:ext cx="8513266" cy="461665"/>
          </a:xfrm>
          <a:prstGeom prst="rect">
            <a:avLst/>
          </a:prstGeom>
          <a:effectLst>
            <a:glow rad="228600">
              <a:schemeClr val="accent1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eceived </a:t>
            </a:r>
            <a:r>
              <a:rPr lang="en-US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ater Efficient Building Certification (Gold</a:t>
            </a:r>
            <a:r>
              <a:rPr lang="en-US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)</a:t>
            </a:r>
            <a:endParaRPr lang="en-US" sz="2400" b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4-Point Star 15"/>
          <p:cNvSpPr/>
          <p:nvPr/>
        </p:nvSpPr>
        <p:spPr>
          <a:xfrm rot="890656">
            <a:off x="353868" y="1593171"/>
            <a:ext cx="957997" cy="616657"/>
          </a:xfrm>
          <a:prstGeom prst="star4">
            <a:avLst>
              <a:gd name="adj" fmla="val 6656"/>
            </a:avLst>
          </a:prstGeom>
          <a:gradFill flip="none" rotWithShape="1">
            <a:gsLst>
              <a:gs pos="0">
                <a:srgbClr val="FFFFFF"/>
              </a:gs>
              <a:gs pos="63000">
                <a:srgbClr val="FFFFFF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7" name="4-Point Star 16"/>
          <p:cNvSpPr/>
          <p:nvPr/>
        </p:nvSpPr>
        <p:spPr>
          <a:xfrm rot="890656">
            <a:off x="5702242" y="1584090"/>
            <a:ext cx="902548" cy="735243"/>
          </a:xfrm>
          <a:prstGeom prst="star4">
            <a:avLst>
              <a:gd name="adj" fmla="val 6656"/>
            </a:avLst>
          </a:prstGeom>
          <a:gradFill flip="none" rotWithShape="1">
            <a:gsLst>
              <a:gs pos="0">
                <a:srgbClr val="FFFFFF"/>
              </a:gs>
              <a:gs pos="63000">
                <a:srgbClr val="FFFFFF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8" name="4-Point Star 17"/>
          <p:cNvSpPr/>
          <p:nvPr/>
        </p:nvSpPr>
        <p:spPr>
          <a:xfrm rot="890656">
            <a:off x="8036455" y="1493047"/>
            <a:ext cx="1004018" cy="972152"/>
          </a:xfrm>
          <a:prstGeom prst="star4">
            <a:avLst>
              <a:gd name="adj" fmla="val 6656"/>
            </a:avLst>
          </a:prstGeom>
          <a:gradFill flip="none" rotWithShape="1">
            <a:gsLst>
              <a:gs pos="0">
                <a:srgbClr val="FFFFFF"/>
              </a:gs>
              <a:gs pos="63000">
                <a:srgbClr val="FFFFFF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19" name="4-Point Star 18"/>
          <p:cNvSpPr/>
          <p:nvPr/>
        </p:nvSpPr>
        <p:spPr>
          <a:xfrm rot="890656">
            <a:off x="2238114" y="1346997"/>
            <a:ext cx="707964" cy="743970"/>
          </a:xfrm>
          <a:prstGeom prst="star4">
            <a:avLst>
              <a:gd name="adj" fmla="val 6656"/>
            </a:avLst>
          </a:prstGeom>
          <a:gradFill flip="none" rotWithShape="1">
            <a:gsLst>
              <a:gs pos="0">
                <a:srgbClr val="FFFFFF"/>
              </a:gs>
              <a:gs pos="63000">
                <a:srgbClr val="FFFFFF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0" name="4-Point Star 19"/>
          <p:cNvSpPr/>
          <p:nvPr/>
        </p:nvSpPr>
        <p:spPr>
          <a:xfrm rot="890656">
            <a:off x="3370724" y="1569830"/>
            <a:ext cx="769133" cy="844864"/>
          </a:xfrm>
          <a:prstGeom prst="star4">
            <a:avLst>
              <a:gd name="adj" fmla="val 6656"/>
            </a:avLst>
          </a:prstGeom>
          <a:gradFill flip="none" rotWithShape="1">
            <a:gsLst>
              <a:gs pos="0">
                <a:srgbClr val="FFFFFF"/>
              </a:gs>
              <a:gs pos="63000">
                <a:srgbClr val="FFFFFF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916401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8)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5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2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000"/>
                            </p:stCondLst>
                            <p:childTnLst>
                              <p:par>
                                <p:cTn id="30" presetID="35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1.85185E-6 L -0.23021 -0.0044 " pathEditMode="relative" rAng="0" ptsTypes="AA">
                                      <p:cBhvr>
                                        <p:cTn id="3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1510" y="-231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500"/>
                            </p:stCondLst>
                            <p:childTnLst>
                              <p:par>
                                <p:cTn id="3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63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2.22222E-6 L 0.17708 0.00301 " pathEditMode="relative" rAng="0" ptsTypes="AA">
                                      <p:cBhvr>
                                        <p:cTn id="3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854" y="139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3000"/>
                            </p:stCondLst>
                            <p:childTnLst>
                              <p:par>
                                <p:cTn id="44" presetID="5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3500"/>
                            </p:stCondLst>
                            <p:childTnLst>
                              <p:par>
                                <p:cTn id="52" presetID="5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31" presetClass="exit" presetSubtype="0" fill="hold" grpId="1" nodeType="withEffect">
                                  <p:stCondLst>
                                    <p:cond delay="7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 calcmode="lin" valueType="num">
                                      <p:cBhvr>
                                        <p:cTn id="66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7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500"/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31" presetClass="entr" presetSubtype="0" fill="hold" grpId="0" nodeType="withEffect">
                                  <p:stCondLst>
                                    <p:cond delay="2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3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4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31" presetClass="exit" presetSubtype="0" fill="hold" grpId="1" nodeType="withEffect">
                                  <p:stCondLst>
                                    <p:cond delay="9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 calcmode="lin" valueType="num">
                                      <p:cBhvr>
                                        <p:cTn id="78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9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500"/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8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3" presetID="31" presetClass="entr" presetSubtype="0" fill="hold" grpId="0" nodeType="withEffect">
                                  <p:stCondLst>
                                    <p:cond delay="4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85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6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7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8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9" presetID="31" presetClass="exit" presetSubtype="0" fill="hold" grpId="1" nodeType="withEffect">
                                  <p:stCondLst>
                                    <p:cond delay="11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 calcmode="lin" valueType="num">
                                      <p:cBhvr>
                                        <p:cTn id="90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1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2" dur="500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9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5" presetID="31" presetClass="entr" presetSubtype="0" fill="hold" grpId="0" nodeType="withEffect">
                                  <p:stCondLst>
                                    <p:cond delay="8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9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31" presetClass="exit" presetSubtype="0" fill="hold" grpId="1" nodeType="withEffect">
                                  <p:stCondLst>
                                    <p:cond delay="14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 calcmode="lin" valueType="num">
                                      <p:cBhvr>
                                        <p:cTn id="102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3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4" dur="5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0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7" presetID="31" presetClass="entr" presetSubtype="0" fill="hold" grpId="0" nodeType="withEffect">
                                  <p:stCondLst>
                                    <p:cond delay="9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set>
                                      <p:cBhvr>
                                        <p:cTn id="10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3" presetID="31" presetClass="exit" presetSubtype="0" fill="hold" grpId="1" nodeType="withEffect">
                                  <p:stCondLst>
                                    <p:cond delay="1500"/>
                                  </p:stCondLst>
                                  <p:iterate type="lt">
                                    <p:tmPct val="5000"/>
                                  </p:iterate>
                                  <p:childTnLst>
                                    <p:anim calcmode="lin" valueType="num">
                                      <p:cBhvr>
                                        <p:cTn id="114" dur="1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1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6" dur="10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1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0" grpId="0"/>
      <p:bldP spid="21" grpId="0"/>
      <p:bldP spid="12" grpId="0"/>
      <p:bldP spid="16" grpId="0" animBg="1"/>
      <p:bldP spid="16" grpId="1" animBg="1"/>
      <p:bldP spid="17" grpId="0" animBg="1"/>
      <p:bldP spid="17" grpId="1" animBg="1"/>
      <p:bldP spid="18" grpId="0" animBg="1"/>
      <p:bldP spid="18" grpId="1" animBg="1"/>
      <p:bldP spid="19" grpId="0" animBg="1"/>
      <p:bldP spid="19" grpId="1" animBg="1"/>
      <p:bldP spid="20" grpId="0" animBg="1"/>
      <p:bldP spid="20" grpId="1" animBg="1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5605153"/>
            <a:ext cx="9144000" cy="1264721"/>
          </a:xfrm>
          <a:prstGeom prst="rect">
            <a:avLst/>
          </a:prstGeom>
        </p:spPr>
      </p:pic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91470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389581" y="328827"/>
            <a:ext cx="8359775" cy="394187"/>
          </a:xfrm>
        </p:spPr>
        <p:txBody>
          <a:bodyPr/>
          <a:lstStyle/>
          <a:p>
            <a:r>
              <a:rPr lang="en-US" sz="1800" dirty="0" smtClean="0">
                <a:latin typeface="Britannic Bold" pitchFamily="34" charset="0"/>
              </a:rPr>
              <a:t>Project Achievements</a:t>
            </a:r>
            <a:endParaRPr lang="en-US" sz="1800" dirty="0">
              <a:latin typeface="Britannic Bold" pitchFamily="34" charset="0"/>
            </a:endParaRPr>
          </a:p>
        </p:txBody>
      </p:sp>
      <p:pic>
        <p:nvPicPr>
          <p:cNvPr id="11" name="Picture 10" descr="C:\Users\haneneel\AppData\Local\Microsoft\Windows\Temporary Internet Files\Content.Word\Philips_A2_Landscape_02_v3.jpg"/>
          <p:cNvPicPr/>
          <p:nvPr/>
        </p:nvPicPr>
        <p:blipFill>
          <a:blip r:embed="rId4" cstate="screen"/>
          <a:srcRect/>
          <a:stretch>
            <a:fillRect/>
          </a:stretch>
        </p:blipFill>
        <p:spPr bwMode="auto">
          <a:xfrm>
            <a:off x="9311822" y="2577588"/>
            <a:ext cx="2341461" cy="227942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9462977" y="5082363"/>
            <a:ext cx="3136742" cy="177563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5" name="Group 14"/>
          <p:cNvGrpSpPr/>
          <p:nvPr/>
        </p:nvGrpSpPr>
        <p:grpSpPr>
          <a:xfrm>
            <a:off x="0" y="866675"/>
            <a:ext cx="9148248" cy="884093"/>
            <a:chOff x="0" y="422519"/>
            <a:chExt cx="5791200" cy="678600"/>
          </a:xfrm>
        </p:grpSpPr>
        <p:sp>
          <p:nvSpPr>
            <p:cNvPr id="21" name="Rounded Rectangle 20"/>
            <p:cNvSpPr/>
            <p:nvPr/>
          </p:nvSpPr>
          <p:spPr>
            <a:xfrm>
              <a:off x="0" y="422519"/>
              <a:ext cx="5791200" cy="678600"/>
            </a:xfrm>
            <a:prstGeom prst="roundRect">
              <a:avLst/>
            </a:prstGeom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5">
                <a:hueOff val="0"/>
                <a:satOff val="0"/>
                <a:lumOff val="0"/>
                <a:alphaOff val="0"/>
              </a:schemeClr>
            </a:fillRef>
            <a:effectRef idx="3">
              <a:schemeClr val="accent5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2" name="Rounded Rectangle 4"/>
            <p:cNvSpPr/>
            <p:nvPr/>
          </p:nvSpPr>
          <p:spPr>
            <a:xfrm>
              <a:off x="33127" y="517639"/>
              <a:ext cx="5724946" cy="55035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10490" tIns="110490" rIns="110490" bIns="110490" numCol="1" spcCol="1270" anchor="ctr" anchorCtr="0">
              <a:noAutofit/>
            </a:bodyPr>
            <a:lstStyle/>
            <a:p>
              <a:pPr lvl="0" algn="l" defTabSz="12890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800" kern="1200" dirty="0" smtClean="0">
                  <a:effectLst>
                    <a:glow rad="63500">
                      <a:schemeClr val="accent1">
                        <a:satMod val="175000"/>
                        <a:alpha val="40000"/>
                      </a:schemeClr>
                    </a:glow>
                  </a:effectLst>
                </a:rPr>
                <a:t>Reported </a:t>
              </a:r>
              <a:r>
                <a:rPr lang="en-US" sz="2800" dirty="0" smtClean="0">
                  <a:effectLst>
                    <a:glow rad="63500">
                      <a:schemeClr val="accent1">
                        <a:satMod val="175000"/>
                        <a:alpha val="40000"/>
                      </a:schemeClr>
                    </a:glow>
                  </a:effectLst>
                </a:rPr>
                <a:t>by Various Medias </a:t>
              </a:r>
            </a:p>
            <a:p>
              <a:pPr lvl="0" algn="l" defTabSz="12890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400" kern="1200" dirty="0" smtClean="0">
                  <a:effectLst>
                    <a:glow rad="63500">
                      <a:schemeClr val="accent1">
                        <a:satMod val="175000"/>
                        <a:alpha val="40000"/>
                      </a:schemeClr>
                    </a:glow>
                  </a:effectLst>
                </a:rPr>
                <a:t>The Straits Times, Channel New Asia, Singapore </a:t>
              </a:r>
              <a:r>
                <a:rPr lang="en-US" sz="1400" kern="1200" dirty="0" err="1" smtClean="0">
                  <a:effectLst>
                    <a:glow rad="63500">
                      <a:schemeClr val="accent1">
                        <a:satMod val="175000"/>
                        <a:alpha val="40000"/>
                      </a:schemeClr>
                    </a:glow>
                  </a:effectLst>
                </a:rPr>
                <a:t>Lianhe</a:t>
              </a:r>
              <a:r>
                <a:rPr lang="en-US" sz="1400" kern="1200" dirty="0" smtClean="0">
                  <a:effectLst>
                    <a:glow rad="63500">
                      <a:schemeClr val="accent1">
                        <a:satMod val="175000"/>
                        <a:alpha val="40000"/>
                      </a:schemeClr>
                    </a:glow>
                  </a:effectLst>
                </a:rPr>
                <a:t> </a:t>
              </a:r>
              <a:r>
                <a:rPr lang="en-US" sz="1400" kern="1200" dirty="0" err="1" smtClean="0">
                  <a:effectLst>
                    <a:glow rad="63500">
                      <a:schemeClr val="accent1">
                        <a:satMod val="175000"/>
                        <a:alpha val="40000"/>
                      </a:schemeClr>
                    </a:glow>
                  </a:effectLst>
                </a:rPr>
                <a:t>Zao</a:t>
              </a:r>
              <a:r>
                <a:rPr lang="en-US" sz="1400" kern="1200" dirty="0" smtClean="0">
                  <a:effectLst>
                    <a:glow rad="63500">
                      <a:schemeClr val="accent1">
                        <a:satMod val="175000"/>
                        <a:alpha val="40000"/>
                      </a:schemeClr>
                    </a:glow>
                  </a:effectLst>
                </a:rPr>
                <a:t> </a:t>
              </a:r>
              <a:r>
                <a:rPr lang="en-US" sz="1400" kern="1200" dirty="0" err="1" smtClean="0">
                  <a:effectLst>
                    <a:glow rad="63500">
                      <a:schemeClr val="accent1">
                        <a:satMod val="175000"/>
                        <a:alpha val="40000"/>
                      </a:schemeClr>
                    </a:glow>
                  </a:effectLst>
                </a:rPr>
                <a:t>Bao</a:t>
              </a:r>
              <a:r>
                <a:rPr lang="en-US" sz="1400" kern="1200" dirty="0" smtClean="0">
                  <a:effectLst>
                    <a:glow rad="63500">
                      <a:schemeClr val="accent1">
                        <a:satMod val="175000"/>
                        <a:alpha val="40000"/>
                      </a:schemeClr>
                    </a:glow>
                  </a:effectLst>
                </a:rPr>
                <a:t> newspapers, TV </a:t>
              </a:r>
              <a:r>
                <a:rPr lang="en-US" sz="1400" dirty="0" smtClean="0">
                  <a:effectLst>
                    <a:glow rad="63500">
                      <a:schemeClr val="accent1">
                        <a:satMod val="175000"/>
                        <a:alpha val="40000"/>
                      </a:schemeClr>
                    </a:glow>
                  </a:effectLst>
                </a:rPr>
                <a:t>Channels and </a:t>
              </a:r>
              <a:r>
                <a:rPr lang="en-US" sz="1400" kern="1200" dirty="0" smtClean="0">
                  <a:effectLst>
                    <a:glow rad="63500">
                      <a:schemeClr val="accent1">
                        <a:satMod val="175000"/>
                        <a:alpha val="40000"/>
                      </a:schemeClr>
                    </a:glow>
                  </a:effectLst>
                </a:rPr>
                <a:t>Radio Station</a:t>
              </a:r>
              <a:endParaRPr lang="en-US" sz="1400" kern="1200" dirty="0">
                <a:effectLst>
                  <a:glow rad="63500">
                    <a:schemeClr val="accent1">
                      <a:satMod val="175000"/>
                      <a:alpha val="40000"/>
                    </a:schemeClr>
                  </a:glow>
                </a:effectLst>
              </a:endParaRPr>
            </a:p>
          </p:txBody>
        </p:sp>
      </p:grpSp>
      <p:pic>
        <p:nvPicPr>
          <p:cNvPr id="25" name="Picture 2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9852441" y="4286992"/>
            <a:ext cx="3077032" cy="173103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635740" y="12442"/>
            <a:ext cx="2496954" cy="1956314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7016" r="8732"/>
          <a:stretch/>
        </p:blipFill>
        <p:spPr>
          <a:xfrm>
            <a:off x="9462978" y="12442"/>
            <a:ext cx="1765003" cy="1979820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735294" y="4286992"/>
            <a:ext cx="2194179" cy="2879789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1042181" y="2083981"/>
            <a:ext cx="2436928" cy="1941079"/>
          </a:xfrm>
          <a:prstGeom prst="rect">
            <a:avLst/>
          </a:prstGeom>
        </p:spPr>
      </p:pic>
      <p:grpSp>
        <p:nvGrpSpPr>
          <p:cNvPr id="29" name="Group 28"/>
          <p:cNvGrpSpPr/>
          <p:nvPr/>
        </p:nvGrpSpPr>
        <p:grpSpPr>
          <a:xfrm>
            <a:off x="2488019" y="3185145"/>
            <a:ext cx="4327451" cy="1070233"/>
            <a:chOff x="2829089" y="2629307"/>
            <a:chExt cx="1943660" cy="1504949"/>
          </a:xfrm>
        </p:grpSpPr>
        <p:sp>
          <p:nvSpPr>
            <p:cNvPr id="30" name="Rounded Rectangle 29"/>
            <p:cNvSpPr/>
            <p:nvPr/>
          </p:nvSpPr>
          <p:spPr>
            <a:xfrm>
              <a:off x="2829089" y="2629307"/>
              <a:ext cx="1943660" cy="1504949"/>
            </a:xfrm>
            <a:prstGeom prst="roundRect">
              <a:avLst/>
            </a:prstGeom>
            <a:blipFill rotWithShape="0">
              <a:blip r:embed="rId11" cstate="print"/>
              <a:stretch>
                <a:fillRect/>
              </a:stretch>
            </a:blipFill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2">
              <a:schemeClr val="accent2"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1" name="Rounded Rectangle 4"/>
            <p:cNvSpPr/>
            <p:nvPr/>
          </p:nvSpPr>
          <p:spPr>
            <a:xfrm>
              <a:off x="2902555" y="2702772"/>
              <a:ext cx="1796728" cy="135801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76200" tIns="76200" rIns="76200" bIns="76200" numCol="1" spcCol="1270" anchor="ctr" anchorCtr="0">
              <a:noAutofit/>
            </a:bodyPr>
            <a:lstStyle/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kern="1200" dirty="0" smtClean="0">
                  <a:solidFill>
                    <a:schemeClr val="tx1"/>
                  </a:solidFill>
                </a:rPr>
                <a:t>Watermark and</a:t>
              </a:r>
            </a:p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 smtClean="0">
                  <a:solidFill>
                    <a:schemeClr val="tx1"/>
                  </a:solidFill>
                </a:rPr>
                <a:t>Water </a:t>
              </a:r>
              <a:r>
                <a:rPr lang="en-US" sz="2000" b="1" kern="1200" dirty="0" smtClean="0">
                  <a:solidFill>
                    <a:schemeClr val="tx1"/>
                  </a:solidFill>
                </a:rPr>
                <a:t>Efficiency Building </a:t>
              </a:r>
            </a:p>
            <a:p>
              <a:pPr lvl="0" algn="ctr" defTabSz="8890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2000" b="1" kern="1200" dirty="0" smtClean="0">
                  <a:solidFill>
                    <a:schemeClr val="tx1"/>
                  </a:solidFill>
                </a:rPr>
                <a:t>Gold</a:t>
              </a:r>
              <a:r>
                <a:rPr lang="en-US" b="1" dirty="0" smtClean="0">
                  <a:solidFill>
                    <a:schemeClr val="tx1"/>
                  </a:solidFill>
                </a:rPr>
                <a:t> </a:t>
              </a:r>
              <a:r>
                <a:rPr lang="en-US" sz="2000" b="1" kern="1200" dirty="0" smtClean="0">
                  <a:solidFill>
                    <a:schemeClr val="tx1"/>
                  </a:solidFill>
                </a:rPr>
                <a:t>Award 2013</a:t>
              </a:r>
              <a:endParaRPr lang="en-US" sz="2000" b="1" kern="12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28639363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13472 0.10371 L -1.00937 -0.10694 " pathEditMode="relative" rAng="0" ptsTypes="AA">
                                      <p:cBhvr>
                                        <p:cTn id="6" dur="2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3733" y="-1053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250"/>
                            </p:stCondLst>
                            <p:childTnLst>
                              <p:par>
                                <p:cTn id="8" presetID="35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7 -2.53469E-6 L -0.79722 -0.35754 " pathEditMode="relative" rAng="0" ptsTypes="AA">
                                      <p:cBhvr>
                                        <p:cTn id="9" dur="25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9861" y="-1787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35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8142 0.04328 L -0.38993 -0.47755 " pathEditMode="relative" rAng="0" ptsTypes="AA">
                                      <p:cBhvr>
                                        <p:cTn id="12" dur="25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3576" y="-26042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50"/>
                            </p:stCondLst>
                            <p:childTnLst>
                              <p:par>
                                <p:cTn id="14" presetID="35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7777 0.03192 L -1.02708 0.6124 " pathEditMode="relative" rAng="0" ptsTypes="AA">
                                      <p:cBhvr>
                                        <p:cTn id="15" dur="2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7465" y="290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000"/>
                            </p:stCondLst>
                            <p:childTnLst>
                              <p:par>
                                <p:cTn id="17" presetID="35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7777 0.03192 L -0.96128 0.61448 " pathEditMode="relative" rAng="0" ptsTypes="AA">
                                      <p:cBhvr>
                                        <p:cTn id="18" dur="2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4184" y="29117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250"/>
                            </p:stCondLst>
                            <p:childTnLst>
                              <p:par>
                                <p:cTn id="20" presetID="35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7778 0.03191 L -0.72795 0.30712 " pathEditMode="relative" rAng="0" ptsTypes="AA">
                                      <p:cBhvr>
                                        <p:cTn id="21" dur="2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32517" y="1376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35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7777 0.03192 L -0.42152 -0.08719 " pathEditMode="relative" rAng="0" ptsTypes="AA">
                                      <p:cBhvr>
                                        <p:cTn id="24" dur="2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188" y="-5967"/>
                                    </p:animMotion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75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5557826"/>
            <a:ext cx="9144000" cy="1300174"/>
          </a:xfrm>
          <a:prstGeom prst="rect">
            <a:avLst/>
          </a:prstGeom>
        </p:spPr>
      </p:pic>
      <p:sp>
        <p:nvSpPr>
          <p:cNvPr id="46" name="SlicerFill" descr="&quot;&quot;"/>
          <p:cNvSpPr/>
          <p:nvPr/>
        </p:nvSpPr>
        <p:spPr>
          <a:xfrm>
            <a:off x="202020" y="656208"/>
            <a:ext cx="4369980" cy="1774209"/>
          </a:xfrm>
          <a:prstGeom prst="homePlate">
            <a:avLst>
              <a:gd name="adj" fmla="val 27686"/>
            </a:avLst>
          </a:prstGeom>
          <a:blipFill dpi="0" rotWithShape="1">
            <a:blip r:embed="rId11" cstate="print">
              <a:alphaModFix amt="47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itchFamily="2" charset="2"/>
              <a:buChar char="v"/>
              <a:defRPr/>
            </a:pPr>
            <a:r>
              <a:rPr lang="en-US" sz="1400" b="1" spc="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 </a:t>
            </a:r>
            <a:r>
              <a:rPr lang="en-US" sz="1400" b="1" spc="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ained valuable </a:t>
            </a:r>
            <a:r>
              <a:rPr lang="en-US" sz="1400" b="1" spc="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technical </a:t>
            </a:r>
          </a:p>
          <a:p>
            <a:pPr>
              <a:defRPr/>
            </a:pPr>
            <a:r>
              <a:rPr lang="en-US" sz="1400" b="1" spc="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b="1" spc="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   knowledge on waste </a:t>
            </a:r>
            <a:r>
              <a:rPr lang="en-US" sz="1400" b="1" spc="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water recycling.</a:t>
            </a:r>
          </a:p>
          <a:p>
            <a:pPr>
              <a:defRPr/>
            </a:pPr>
            <a:endParaRPr lang="en-US" sz="1400" b="1" spc="1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v"/>
              <a:defRPr/>
            </a:pPr>
            <a:r>
              <a:rPr lang="en-US" sz="1400" b="1" spc="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 Established excellent </a:t>
            </a:r>
            <a:r>
              <a:rPr lang="en-US" sz="1400" b="1" spc="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working </a:t>
            </a:r>
          </a:p>
          <a:p>
            <a:pPr>
              <a:defRPr/>
            </a:pPr>
            <a:r>
              <a:rPr lang="en-US" sz="1400" b="1" spc="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    rapport with </a:t>
            </a:r>
            <a:r>
              <a:rPr lang="en-US" sz="1400" b="1" spc="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UB.	</a:t>
            </a:r>
          </a:p>
          <a:p>
            <a:pPr>
              <a:defRPr/>
            </a:pPr>
            <a:endParaRPr lang="en-US" sz="1400" b="1" spc="1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marL="285750" lvl="0" indent="-285750">
              <a:buFont typeface="Wingdings" pitchFamily="2" charset="2"/>
              <a:buChar char="v"/>
            </a:pPr>
            <a:r>
              <a:rPr lang="en-US" sz="1400" b="1" spc="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“Never before possible, possible!”</a:t>
            </a:r>
          </a:p>
          <a:p>
            <a:pPr marL="685800" lvl="1" indent="-228600">
              <a:buFont typeface="Arial" pitchFamily="34" charset="0"/>
              <a:buChar char="•"/>
            </a:pPr>
            <a:r>
              <a:rPr lang="en-US" sz="1400" b="1" spc="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ream big</a:t>
            </a:r>
          </a:p>
          <a:p>
            <a:pPr marL="685800" lvl="1" indent="-228600">
              <a:buFont typeface="Arial" pitchFamily="34" charset="0"/>
              <a:buChar char="•"/>
            </a:pPr>
            <a:r>
              <a:rPr lang="en-US" sz="1400" b="1" spc="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Great teamwork</a:t>
            </a:r>
          </a:p>
          <a:p>
            <a:pPr marL="685800" lvl="1" indent="-228600">
              <a:buFont typeface="Arial" pitchFamily="34" charset="0"/>
              <a:buChar char="•"/>
            </a:pPr>
            <a:r>
              <a:rPr lang="en-US" sz="1400" b="1" spc="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Just do </a:t>
            </a:r>
            <a:r>
              <a:rPr lang="en-US" sz="1400" b="1" spc="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t</a:t>
            </a:r>
            <a:endParaRPr lang="en-US" sz="1400" b="1" dirty="0">
              <a:solidFill>
                <a:schemeClr val="tx1"/>
              </a:solidFill>
            </a:endParaRPr>
          </a:p>
        </p:txBody>
      </p:sp>
      <p:sp>
        <p:nvSpPr>
          <p:cNvPr id="48" name="SlicerFill" descr="&quot;&quot;"/>
          <p:cNvSpPr/>
          <p:nvPr/>
        </p:nvSpPr>
        <p:spPr>
          <a:xfrm>
            <a:off x="4699591" y="661564"/>
            <a:ext cx="4444410" cy="1768853"/>
          </a:xfrm>
          <a:prstGeom prst="homePlate">
            <a:avLst>
              <a:gd name="adj" fmla="val 27686"/>
            </a:avLst>
          </a:prstGeom>
          <a:blipFill dpi="0" rotWithShape="1">
            <a:blip r:embed="rId12" cstate="print">
              <a:alphaModFix amt="47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1400" b="1" spc="1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v"/>
            </a:pPr>
            <a:r>
              <a:rPr lang="en-US" sz="1400" b="1" spc="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  Public launch of new </a:t>
            </a:r>
            <a:r>
              <a:rPr lang="en-US" sz="1400" b="1" spc="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tandard SS577</a:t>
            </a:r>
            <a:endParaRPr lang="en-US" sz="1400" b="1" spc="1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v"/>
            </a:pPr>
            <a:r>
              <a:rPr lang="en-US" sz="1400" b="1" spc="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  Water Efficiency Building Gold </a:t>
            </a:r>
            <a:endParaRPr lang="en-US" sz="1400" b="1" spc="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400" b="1" spc="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b="1" spc="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    Award ceremony</a:t>
            </a:r>
            <a:endParaRPr lang="en-US" sz="1400" b="1" spc="1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>
              <a:buFont typeface="Wingdings" pitchFamily="2" charset="2"/>
              <a:buChar char="v"/>
            </a:pPr>
            <a:r>
              <a:rPr lang="en-US" sz="1400" b="1" spc="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  Watermark Award ceremony</a:t>
            </a:r>
          </a:p>
          <a:p>
            <a:pPr>
              <a:buFont typeface="Wingdings" pitchFamily="2" charset="2"/>
              <a:buChar char="v"/>
            </a:pPr>
            <a:r>
              <a:rPr lang="en-US" sz="1400" b="1" spc="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  Town hall meeting, </a:t>
            </a:r>
            <a:r>
              <a:rPr lang="en-US" sz="1400" b="1" spc="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employee  </a:t>
            </a:r>
          </a:p>
          <a:p>
            <a:r>
              <a:rPr lang="en-US" sz="1400" b="1" spc="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b="1" spc="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    training</a:t>
            </a:r>
            <a:r>
              <a:rPr lang="en-US" sz="1400" b="1" spc="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, EHS </a:t>
            </a:r>
            <a:r>
              <a:rPr lang="en-US" sz="1400" b="1" spc="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arnival </a:t>
            </a:r>
            <a:r>
              <a:rPr lang="en-US" sz="1400" b="1" spc="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&amp; </a:t>
            </a:r>
            <a:r>
              <a:rPr lang="en-US" sz="1400" b="1" spc="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display </a:t>
            </a:r>
          </a:p>
          <a:p>
            <a:r>
              <a:rPr lang="en-US" sz="1400" b="1" spc="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b="1" spc="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    posters</a:t>
            </a:r>
            <a:r>
              <a:rPr lang="en-US" sz="1400" b="1" spc="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>
              <a:buFont typeface="Wingdings" pitchFamily="2" charset="2"/>
              <a:buChar char="v"/>
            </a:pPr>
            <a:r>
              <a:rPr lang="en-US" sz="1400" b="1" spc="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 </a:t>
            </a:r>
            <a:r>
              <a:rPr lang="en-US" sz="1400" b="1" spc="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Our </a:t>
            </a:r>
            <a:r>
              <a:rPr lang="en-US" sz="1400" b="1" spc="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tory was publicized in various </a:t>
            </a:r>
            <a:endParaRPr lang="en-US" sz="1400" b="1" spc="1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400" b="1" spc="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400" b="1" spc="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     media</a:t>
            </a:r>
            <a:r>
              <a:rPr lang="en-US" sz="1400" b="1" spc="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.</a:t>
            </a:r>
          </a:p>
        </p:txBody>
      </p:sp>
      <p:sp>
        <p:nvSpPr>
          <p:cNvPr id="50" name="Rectangle 49"/>
          <p:cNvSpPr/>
          <p:nvPr>
            <p:custDataLst>
              <p:tags r:id="rId1"/>
            </p:custDataLst>
          </p:nvPr>
        </p:nvSpPr>
        <p:spPr bwMode="auto">
          <a:xfrm>
            <a:off x="559557" y="126290"/>
            <a:ext cx="3156530" cy="523220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29210" h="1651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>
              <a:defRPr/>
            </a:pPr>
            <a:r>
              <a:rPr lang="en-US" sz="2800" b="1" dirty="0">
                <a:ln>
                  <a:prstDash val="solid"/>
                </a:ln>
                <a:solidFill>
                  <a:srgbClr val="9D02CE"/>
                </a:solidFill>
                <a:effectLst>
                  <a:outerShdw blurRad="88000" dist="50800" dir="5040000" algn="tl">
                    <a:schemeClr val="accent4">
                      <a:tint val="80000"/>
                      <a:satMod val="250000"/>
                      <a:alpha val="45000"/>
                    </a:schemeClr>
                  </a:outerShdw>
                </a:effectLst>
                <a:latin typeface="Arial" pitchFamily="34" charset="0"/>
                <a:cs typeface="Arial" pitchFamily="34" charset="0"/>
              </a:rPr>
              <a:t>Project Learning</a:t>
            </a:r>
          </a:p>
        </p:txBody>
      </p:sp>
      <p:sp>
        <p:nvSpPr>
          <p:cNvPr id="51" name="Rectangle 50"/>
          <p:cNvSpPr/>
          <p:nvPr>
            <p:custDataLst>
              <p:tags r:id="rId2"/>
            </p:custDataLst>
          </p:nvPr>
        </p:nvSpPr>
        <p:spPr bwMode="auto">
          <a:xfrm>
            <a:off x="4806985" y="126290"/>
            <a:ext cx="3766894" cy="523220"/>
          </a:xfrm>
          <a:prstGeom prst="rect">
            <a:avLst/>
          </a:prstGeom>
          <a:noFill/>
        </p:spPr>
        <p:txBody>
          <a:bodyPr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29210" h="16510"/>
              <a:contourClr>
                <a:schemeClr val="accent4">
                  <a:alpha val="95000"/>
                </a:schemeClr>
              </a:contourClr>
            </a:sp3d>
          </a:bodyPr>
          <a:lstStyle/>
          <a:p>
            <a:pPr algn="ctr"/>
            <a:r>
              <a:rPr lang="en-US" sz="2800" b="1" dirty="0">
                <a:ln>
                  <a:prstDash val="solid"/>
                </a:ln>
                <a:solidFill>
                  <a:srgbClr val="9D02CE"/>
                </a:solidFill>
                <a:effectLst>
                  <a:outerShdw blurRad="88000" dist="50800" dir="5040000" algn="tl">
                    <a:schemeClr val="accent4">
                      <a:tint val="80000"/>
                      <a:satMod val="250000"/>
                      <a:alpha val="45000"/>
                    </a:schemeClr>
                  </a:outerShdw>
                </a:effectLst>
                <a:latin typeface="Arial" pitchFamily="34" charset="0"/>
                <a:cs typeface="Arial" pitchFamily="34" charset="0"/>
              </a:rPr>
              <a:t>Project Sharing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0" y="2955851"/>
            <a:ext cx="9144000" cy="3448209"/>
            <a:chOff x="0" y="2773171"/>
            <a:chExt cx="9144000" cy="3865754"/>
          </a:xfrm>
        </p:grpSpPr>
        <p:sp>
          <p:nvSpPr>
            <p:cNvPr id="18" name="Text Placeholder 2"/>
            <p:cNvSpPr txBox="1">
              <a:spLocks/>
            </p:cNvSpPr>
            <p:nvPr>
              <p:custDataLst>
                <p:tags r:id="rId3"/>
              </p:custDataLst>
            </p:nvPr>
          </p:nvSpPr>
          <p:spPr>
            <a:xfrm>
              <a:off x="1411660" y="4358437"/>
              <a:ext cx="5703515" cy="1220713"/>
            </a:xfrm>
            <a:prstGeom prst="rect">
              <a:avLst/>
            </a:prstGeom>
            <a:ln w="0">
              <a:solidFill>
                <a:schemeClr val="bg1"/>
              </a:solidFill>
            </a:ln>
            <a:effectLst/>
          </p:spPr>
          <p:txBody>
            <a:bodyPr wrap="square" lIns="0" tIns="0" rIns="0" bIns="0"/>
            <a:lstStyle/>
            <a:p>
              <a:pPr marL="254000" lvl="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</a:pPr>
              <a:r>
                <a:rPr lang="en-US" altLang="zh-CN" sz="2400" b="1" dirty="0" smtClean="0">
                  <a:solidFill>
                    <a:srgbClr val="00B0F0"/>
                  </a:solidFill>
                  <a:latin typeface="Gill Sans MT" pitchFamily="34" charset="0"/>
                  <a:ea typeface="宋体"/>
                  <a:cs typeface="宋体"/>
                </a:rPr>
                <a:t>Take Ownership</a:t>
              </a:r>
            </a:p>
            <a:p>
              <a:pPr marL="2540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Blip>
                  <a:blip r:embed="rId13"/>
                </a:buBlip>
              </a:pPr>
              <a:r>
                <a:rPr lang="en-US" sz="1600" dirty="0">
                  <a:latin typeface="Gill Sans MT" pitchFamily="34" charset="0"/>
                </a:rPr>
                <a:t>Team </a:t>
              </a:r>
              <a:r>
                <a:rPr lang="en-US" sz="1600" dirty="0" smtClean="0">
                  <a:latin typeface="Gill Sans MT" pitchFamily="34" charset="0"/>
                </a:rPr>
                <a:t>accomplished and excelled expected results</a:t>
              </a:r>
              <a:r>
                <a:rPr lang="en-US" sz="1200" dirty="0" smtClean="0">
                  <a:latin typeface="Gill Sans MT" pitchFamily="34" charset="0"/>
                </a:rPr>
                <a:t>.</a:t>
              </a:r>
              <a:r>
                <a:rPr lang="en-US" altLang="zh-CN" sz="1200" dirty="0" smtClean="0">
                  <a:latin typeface="Gill Sans MT" pitchFamily="34" charset="0"/>
                  <a:ea typeface="宋体"/>
                  <a:cs typeface="宋体"/>
                </a:rPr>
                <a:t> </a:t>
              </a:r>
              <a:endParaRPr lang="en-US" sz="1200" dirty="0" smtClean="0">
                <a:latin typeface="Gill Sans MT" pitchFamily="34" charset="0"/>
              </a:endParaRPr>
            </a:p>
            <a:p>
              <a:pPr marL="254000" lvl="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</a:pPr>
              <a:endParaRPr lang="en-US" sz="1200" dirty="0" smtClean="0">
                <a:latin typeface="Gill Sans MT" pitchFamily="34" charset="0"/>
              </a:endParaRPr>
            </a:p>
          </p:txBody>
        </p:sp>
        <p:sp>
          <p:nvSpPr>
            <p:cNvPr id="19" name="Text Placeholder 2"/>
            <p:cNvSpPr txBox="1">
              <a:spLocks/>
            </p:cNvSpPr>
            <p:nvPr>
              <p:custDataLst>
                <p:tags r:id="rId4"/>
              </p:custDataLst>
            </p:nvPr>
          </p:nvSpPr>
          <p:spPr>
            <a:xfrm>
              <a:off x="1125909" y="3084612"/>
              <a:ext cx="5989265" cy="934938"/>
            </a:xfrm>
            <a:prstGeom prst="rect">
              <a:avLst/>
            </a:prstGeom>
            <a:ln w="0"/>
            <a:effectLst/>
          </p:spPr>
          <p:txBody>
            <a:bodyPr wrap="square" lIns="0" tIns="0" rIns="0" bIns="0"/>
            <a:lstStyle/>
            <a:p>
              <a:pPr marL="254000" marR="0" lvl="0" indent="-254000" algn="l" defTabSz="914400" rtl="0" eaLnBrk="0" fontAlgn="base" latinLnBrk="0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tabLst/>
                <a:defRPr/>
              </a:pPr>
              <a:r>
                <a:rPr lang="en-US" sz="2400" b="1" kern="0" dirty="0" smtClean="0">
                  <a:solidFill>
                    <a:srgbClr val="800080"/>
                  </a:solidFill>
                  <a:latin typeface="Gill Sans MT" pitchFamily="34" charset="0"/>
                </a:rPr>
                <a:t>Eager to Win</a:t>
              </a:r>
              <a:endPara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rgbClr val="800080"/>
                </a:solidFill>
                <a:effectLst/>
                <a:uLnTx/>
                <a:uFillTx/>
                <a:latin typeface="Gill Sans MT" pitchFamily="34" charset="0"/>
              </a:endParaRPr>
            </a:p>
            <a:p>
              <a:pPr marL="254000" indent="-254000" eaLnBrk="0" hangingPunct="0">
                <a:lnSpc>
                  <a:spcPct val="105000"/>
                </a:lnSpc>
                <a:spcBef>
                  <a:spcPct val="20000"/>
                </a:spcBef>
                <a:buSzPct val="100000"/>
                <a:buBlip>
                  <a:blip r:embed="rId14"/>
                </a:buBlip>
                <a:defRPr/>
              </a:pPr>
              <a:r>
                <a:rPr lang="en-US" sz="1600" kern="0" dirty="0" smtClean="0">
                  <a:latin typeface="Gill Sans MT" pitchFamily="34" charset="0"/>
                </a:rPr>
                <a:t>Accelerated </a:t>
              </a:r>
              <a:r>
                <a:rPr lang="en-US" sz="1600" kern="0" dirty="0">
                  <a:latin typeface="Gill Sans MT" pitchFamily="34" charset="0"/>
                </a:rPr>
                <a:t>all action defined, </a:t>
              </a:r>
              <a:r>
                <a:rPr lang="en-US" sz="1600" kern="0" dirty="0" smtClean="0">
                  <a:latin typeface="Gill Sans MT" pitchFamily="34" charset="0"/>
                </a:rPr>
                <a:t>executed </a:t>
              </a:r>
              <a:r>
                <a:rPr lang="en-US" sz="1600" kern="0" dirty="0">
                  <a:latin typeface="Gill Sans MT" pitchFamily="34" charset="0"/>
                </a:rPr>
                <a:t>with full </a:t>
              </a:r>
              <a:r>
                <a:rPr lang="en-US" sz="1600" kern="0" dirty="0" smtClean="0">
                  <a:latin typeface="Gill Sans MT" pitchFamily="34" charset="0"/>
                </a:rPr>
                <a:t>speed and improved WEI by </a:t>
              </a:r>
              <a:r>
                <a:rPr lang="en-US" b="1" kern="0" dirty="0" smtClean="0">
                  <a:latin typeface="Gill Sans MT" pitchFamily="34" charset="0"/>
                </a:rPr>
                <a:t>29%.</a:t>
              </a:r>
              <a:r>
                <a:rPr lang="en-US" sz="1600" kern="0" dirty="0" smtClean="0">
                  <a:latin typeface="Gill Sans MT" pitchFamily="34" charset="0"/>
                </a:rPr>
                <a:t> </a:t>
              </a:r>
              <a:endParaRPr lang="en-US" sz="1600" kern="0" dirty="0">
                <a:latin typeface="Gill Sans MT" pitchFamily="34" charset="0"/>
              </a:endParaRPr>
            </a:p>
          </p:txBody>
        </p:sp>
        <p:sp>
          <p:nvSpPr>
            <p:cNvPr id="20" name="Text Placeholder 2"/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1678361" y="5408662"/>
              <a:ext cx="6729850" cy="1230263"/>
            </a:xfrm>
            <a:prstGeom prst="rect">
              <a:avLst/>
            </a:prstGeom>
            <a:ln w="0"/>
            <a:effectLst/>
          </p:spPr>
          <p:txBody>
            <a:bodyPr wrap="square" lIns="0" tIns="0" rIns="0" bIns="0"/>
            <a:lstStyle/>
            <a:p>
              <a:pPr marL="254000" marR="0" lvl="0" indent="-254000" algn="l" defTabSz="914400" rtl="0" eaLnBrk="0" fontAlgn="base" latinLnBrk="0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tabLst/>
                <a:defRPr/>
              </a:pPr>
              <a:r>
                <a:rPr kumimoji="0" lang="en-US" sz="2400" b="1" i="0" u="none" strike="noStrike" kern="0" cap="none" spc="0" normalizeH="0" baseline="0" noProof="0" dirty="0" smtClean="0">
                  <a:ln>
                    <a:noFill/>
                  </a:ln>
                  <a:solidFill>
                    <a:srgbClr val="5DBA00"/>
                  </a:solidFill>
                  <a:effectLst/>
                  <a:uLnTx/>
                  <a:uFillTx/>
                  <a:latin typeface="Gill Sans MT" pitchFamily="34" charset="0"/>
                </a:rPr>
                <a:t>Team up to Excel</a:t>
              </a:r>
            </a:p>
            <a:p>
              <a:pPr marL="254000" marR="0" lvl="0" indent="-254000" algn="l" defTabSz="914400" rtl="0" eaLnBrk="0" fontAlgn="base" latinLnBrk="0" hangingPunct="0">
                <a:lnSpc>
                  <a:spcPct val="105000"/>
                </a:lnSpc>
                <a:spcBef>
                  <a:spcPct val="20000"/>
                </a:spcBef>
                <a:spcAft>
                  <a:spcPct val="0"/>
                </a:spcAft>
                <a:buClrTx/>
                <a:buSzPct val="100000"/>
                <a:buFontTx/>
                <a:buBlip>
                  <a:blip r:embed="rId15"/>
                </a:buBlip>
                <a:tabLst/>
                <a:defRPr/>
              </a:pPr>
              <a:r>
                <a: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ill Sans MT" pitchFamily="34" charset="0"/>
                </a:rPr>
                <a:t>Used </a:t>
              </a:r>
              <a:r>
                <a:rPr lang="en-US" sz="1600" kern="0" dirty="0" smtClean="0">
                  <a:latin typeface="Gill Sans MT" pitchFamily="34" charset="0"/>
                </a:rPr>
                <a:t>diversified </a:t>
              </a:r>
              <a:r>
                <a:rPr kumimoji="0" lang="en-US" sz="1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ill Sans MT" pitchFamily="34" charset="0"/>
                </a:rPr>
                <a:t>expertise to drive fast results</a:t>
              </a:r>
              <a:r>
                <a:rPr kumimoji="0" lang="en-US" sz="1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Gill Sans MT" pitchFamily="34" charset="0"/>
                </a:rPr>
                <a:t>.</a:t>
              </a:r>
              <a:endParaRPr kumimoji="0" lang="en-US" sz="11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 pitchFamily="34" charset="0"/>
              </a:endParaRPr>
            </a:p>
          </p:txBody>
        </p:sp>
        <p:pic>
          <p:nvPicPr>
            <p:cNvPr id="21" name="Picture 2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16" cstate="print"/>
            <a:srcRect/>
            <a:stretch>
              <a:fillRect/>
            </a:stretch>
          </p:blipFill>
          <p:spPr bwMode="auto">
            <a:xfrm>
              <a:off x="306835" y="3266728"/>
              <a:ext cx="514350" cy="723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2" name="Picture 3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>
            <a:blip r:embed="rId17" cstate="print"/>
            <a:srcRect/>
            <a:stretch>
              <a:fillRect/>
            </a:stretch>
          </p:blipFill>
          <p:spPr bwMode="auto">
            <a:xfrm>
              <a:off x="727076" y="4437137"/>
              <a:ext cx="447675" cy="67627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23" name="Picture 4"/>
            <p:cNvPicPr>
              <a:picLocks noChangeAspect="1" noChangeArrowheads="1"/>
            </p:cNvPicPr>
            <p:nvPr>
              <p:custDataLst>
                <p:tags r:id="rId8"/>
              </p:custDataLst>
            </p:nvPr>
          </p:nvPicPr>
          <p:blipFill>
            <a:blip r:embed="rId18" cstate="print"/>
            <a:srcRect/>
            <a:stretch>
              <a:fillRect/>
            </a:stretch>
          </p:blipFill>
          <p:spPr bwMode="auto">
            <a:xfrm>
              <a:off x="1094360" y="5690220"/>
              <a:ext cx="313862" cy="685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cxnSp>
          <p:nvCxnSpPr>
            <p:cNvPr id="24" name="Straight Connector 23"/>
            <p:cNvCxnSpPr/>
            <p:nvPr/>
          </p:nvCxnSpPr>
          <p:spPr bwMode="auto">
            <a:xfrm flipV="1">
              <a:off x="0" y="2773171"/>
              <a:ext cx="9144000" cy="27291"/>
            </a:xfrm>
            <a:prstGeom prst="line">
              <a:avLst/>
            </a:prstGeom>
            <a:ln>
              <a:headEnd type="none" w="med" len="med"/>
              <a:tailEnd type="none" w="med" len="med"/>
            </a:ln>
          </p:spPr>
          <p:style>
            <a:lnRef idx="3">
              <a:schemeClr val="accent2"/>
            </a:lnRef>
            <a:fillRef idx="0">
              <a:schemeClr val="accent2"/>
            </a:fillRef>
            <a:effectRef idx="2">
              <a:schemeClr val="accent2"/>
            </a:effectRef>
            <a:fontRef idx="minor">
              <a:schemeClr val="tx1"/>
            </a:fontRef>
          </p:style>
        </p:cxnSp>
        <p:pic>
          <p:nvPicPr>
            <p:cNvPr id="25" name="Picture 2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925252" y="3883856"/>
              <a:ext cx="1859973" cy="167957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="" val="3729684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6" grpId="0" animBg="1"/>
      <p:bldP spid="48" grpId="0" animBg="1"/>
      <p:bldP spid="50" grpId="0"/>
      <p:bldP spid="51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13298"/>
          <a:stretch/>
        </p:blipFill>
        <p:spPr>
          <a:xfrm>
            <a:off x="-2" y="4573979"/>
            <a:ext cx="4234544" cy="2284021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-1"/>
            <a:ext cx="4234542" cy="2579915"/>
          </a:xfrm>
          <a:prstGeom prst="rect">
            <a:avLst/>
          </a:prstGeom>
        </p:spPr>
      </p:pic>
      <p:pic>
        <p:nvPicPr>
          <p:cNvPr id="13" name="clear_white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-2" y="2122714"/>
            <a:ext cx="4234542" cy="2451266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-2" y="2932459"/>
            <a:ext cx="4193965" cy="1027717"/>
          </a:xfrm>
        </p:spPr>
        <p:txBody>
          <a:bodyPr/>
          <a:lstStyle/>
          <a:p>
            <a:r>
              <a:rPr lang="en-US" sz="2400" b="1" dirty="0">
                <a:solidFill>
                  <a:srgbClr val="081AC4"/>
                </a:solidFill>
              </a:rPr>
              <a:t>Philips has a strong social responsibility in maintaining our environment…..</a:t>
            </a:r>
          </a:p>
          <a:p>
            <a:endParaRPr lang="en-US" sz="2400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234543" y="-1"/>
            <a:ext cx="4909457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7657131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4296"/>
            <a:ext cx="9144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7734" y="232641"/>
            <a:ext cx="8359775" cy="663575"/>
          </a:xfrm>
        </p:spPr>
        <p:txBody>
          <a:bodyPr>
            <a:normAutofit/>
          </a:bodyPr>
          <a:lstStyle/>
          <a:p>
            <a:r>
              <a:rPr lang="en-US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ar-reaching Environment Sustainability </a:t>
            </a:r>
            <a:endParaRPr 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Text Placeholder 2"/>
          <p:cNvSpPr txBox="1">
            <a:spLocks/>
          </p:cNvSpPr>
          <p:nvPr/>
        </p:nvSpPr>
        <p:spPr bwMode="auto">
          <a:xfrm>
            <a:off x="0" y="1241975"/>
            <a:ext cx="5248894" cy="437969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ffectLst>
            <a:outerShdw blurRad="225425" dist="50800" dir="5220000" algn="ctr">
              <a:srgbClr val="000000">
                <a:alpha val="33000"/>
              </a:srgbClr>
            </a:outerShdw>
          </a:effec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69863" indent="-169863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•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-2238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>
                <a:solidFill>
                  <a:srgbClr val="000000"/>
                </a:solidFill>
                <a:latin typeface="+mn-lt"/>
              </a:defRPr>
            </a:lvl2pPr>
            <a:lvl3pPr marL="690563" indent="-180975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•"/>
              <a:defRPr sz="1600">
                <a:solidFill>
                  <a:srgbClr val="000000"/>
                </a:solidFill>
                <a:latin typeface="+mn-lt"/>
              </a:defRPr>
            </a:lvl3pPr>
            <a:lvl4pPr marL="966788" indent="-222250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+mn-lt"/>
              </a:defRPr>
            </a:lvl4pPr>
            <a:lvl5pPr marL="1147763" indent="-180975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200">
                <a:solidFill>
                  <a:srgbClr val="000000"/>
                </a:solidFill>
                <a:latin typeface="+mn-lt"/>
              </a:defRPr>
            </a:lvl5pPr>
            <a:lvl6pPr marL="2540000" indent="-254000" algn="l" rtl="0" eaLnBrk="1" fontAlgn="base" hangingPunct="1">
              <a:lnSpc>
                <a:spcPct val="10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600">
                <a:solidFill>
                  <a:srgbClr val="000000"/>
                </a:solidFill>
                <a:latin typeface="+mn-lt"/>
              </a:defRPr>
            </a:lvl6pPr>
            <a:lvl7pPr marL="2997200" indent="-254000" algn="l" rtl="0" eaLnBrk="1" fontAlgn="base" hangingPunct="1">
              <a:lnSpc>
                <a:spcPct val="10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600">
                <a:solidFill>
                  <a:srgbClr val="000000"/>
                </a:solidFill>
                <a:latin typeface="+mn-lt"/>
              </a:defRPr>
            </a:lvl7pPr>
            <a:lvl8pPr marL="3454400" indent="-254000" algn="l" rtl="0" eaLnBrk="1" fontAlgn="base" hangingPunct="1">
              <a:lnSpc>
                <a:spcPct val="10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600">
                <a:solidFill>
                  <a:srgbClr val="000000"/>
                </a:solidFill>
                <a:latin typeface="+mn-lt"/>
              </a:defRPr>
            </a:lvl8pPr>
            <a:lvl9pPr marL="3911600" indent="-254000" algn="l" rtl="0" eaLnBrk="1" fontAlgn="base" hangingPunct="1">
              <a:lnSpc>
                <a:spcPct val="10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600">
                <a:solidFill>
                  <a:srgbClr val="000000"/>
                </a:solidFill>
                <a:latin typeface="+mn-lt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r>
              <a:rPr lang="en-US" sz="1800" kern="0" dirty="0" smtClean="0">
                <a:solidFill>
                  <a:schemeClr val="bg1"/>
                </a:solidFill>
              </a:rPr>
              <a:t>  Philips has a very strong social responsibility. </a:t>
            </a:r>
            <a:endParaRPr lang="en-US" sz="1000" kern="0" dirty="0" smtClean="0">
              <a:solidFill>
                <a:schemeClr val="bg1"/>
              </a:solidFill>
            </a:endParaRPr>
          </a:p>
          <a:p>
            <a:endParaRPr lang="en-US" sz="800" kern="0" dirty="0" smtClean="0">
              <a:solidFill>
                <a:schemeClr val="bg1"/>
              </a:solidFill>
            </a:endParaRPr>
          </a:p>
          <a:p>
            <a:pPr marL="0" indent="0">
              <a:buNone/>
            </a:pPr>
            <a:endParaRPr lang="en-US" sz="1800" kern="0" dirty="0">
              <a:solidFill>
                <a:schemeClr val="bg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586841" y="5136968"/>
            <a:ext cx="2154023" cy="161551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3104" t="1312" b="4014"/>
          <a:stretch/>
        </p:blipFill>
        <p:spPr>
          <a:xfrm>
            <a:off x="237508" y="5136968"/>
            <a:ext cx="2054430" cy="1618488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7" name="Text Placeholder 2"/>
          <p:cNvSpPr txBox="1">
            <a:spLocks/>
          </p:cNvSpPr>
          <p:nvPr/>
        </p:nvSpPr>
        <p:spPr bwMode="auto">
          <a:xfrm>
            <a:off x="0" y="3454560"/>
            <a:ext cx="4572000" cy="910101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ffectLst>
            <a:outerShdw blurRad="225425" dist="50800" dir="5220000" algn="ctr">
              <a:srgbClr val="000000">
                <a:alpha val="33000"/>
              </a:srgbClr>
            </a:outerShdw>
          </a:effec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69863" indent="-169863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•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-2238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>
                <a:solidFill>
                  <a:srgbClr val="000000"/>
                </a:solidFill>
                <a:latin typeface="+mn-lt"/>
              </a:defRPr>
            </a:lvl2pPr>
            <a:lvl3pPr marL="690563" indent="-180975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•"/>
              <a:defRPr sz="1600">
                <a:solidFill>
                  <a:srgbClr val="000000"/>
                </a:solidFill>
                <a:latin typeface="+mn-lt"/>
              </a:defRPr>
            </a:lvl3pPr>
            <a:lvl4pPr marL="966788" indent="-222250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+mn-lt"/>
              </a:defRPr>
            </a:lvl4pPr>
            <a:lvl5pPr marL="1147763" indent="-180975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200">
                <a:solidFill>
                  <a:srgbClr val="000000"/>
                </a:solidFill>
                <a:latin typeface="+mn-lt"/>
              </a:defRPr>
            </a:lvl5pPr>
            <a:lvl6pPr marL="2540000" indent="-254000" algn="l" rtl="0" eaLnBrk="1" fontAlgn="base" hangingPunct="1">
              <a:lnSpc>
                <a:spcPct val="10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600">
                <a:solidFill>
                  <a:srgbClr val="000000"/>
                </a:solidFill>
                <a:latin typeface="+mn-lt"/>
              </a:defRPr>
            </a:lvl6pPr>
            <a:lvl7pPr marL="2997200" indent="-254000" algn="l" rtl="0" eaLnBrk="1" fontAlgn="base" hangingPunct="1">
              <a:lnSpc>
                <a:spcPct val="10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600">
                <a:solidFill>
                  <a:srgbClr val="000000"/>
                </a:solidFill>
                <a:latin typeface="+mn-lt"/>
              </a:defRPr>
            </a:lvl7pPr>
            <a:lvl8pPr marL="3454400" indent="-254000" algn="l" rtl="0" eaLnBrk="1" fontAlgn="base" hangingPunct="1">
              <a:lnSpc>
                <a:spcPct val="10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600">
                <a:solidFill>
                  <a:srgbClr val="000000"/>
                </a:solidFill>
                <a:latin typeface="+mn-lt"/>
              </a:defRPr>
            </a:lvl8pPr>
            <a:lvl9pPr marL="3911600" indent="-254000" algn="l" rtl="0" eaLnBrk="1" fontAlgn="base" hangingPunct="1">
              <a:lnSpc>
                <a:spcPct val="10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600">
                <a:solidFill>
                  <a:srgbClr val="000000"/>
                </a:solidFill>
                <a:latin typeface="+mn-lt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r>
              <a:rPr lang="en-US" sz="1800" kern="0" dirty="0" smtClean="0">
                <a:solidFill>
                  <a:schemeClr val="bg1"/>
                </a:solidFill>
              </a:rPr>
              <a:t>  We </a:t>
            </a:r>
            <a:r>
              <a:rPr lang="en-US" sz="1800" kern="0" dirty="0">
                <a:solidFill>
                  <a:schemeClr val="bg1"/>
                </a:solidFill>
              </a:rPr>
              <a:t>reduced </a:t>
            </a:r>
            <a:r>
              <a:rPr lang="en-US" sz="1800" kern="0" dirty="0" smtClean="0">
                <a:solidFill>
                  <a:schemeClr val="bg1"/>
                </a:solidFill>
              </a:rPr>
              <a:t>water consumption and  </a:t>
            </a:r>
          </a:p>
          <a:p>
            <a:pPr marL="0" indent="0">
              <a:buNone/>
            </a:pPr>
            <a:r>
              <a:rPr lang="en-US" sz="1800" kern="0" dirty="0" smtClean="0">
                <a:solidFill>
                  <a:schemeClr val="bg1"/>
                </a:solidFill>
              </a:rPr>
              <a:t>     operates in environmentally </a:t>
            </a:r>
            <a:r>
              <a:rPr lang="en-US" sz="1800" kern="0" dirty="0">
                <a:solidFill>
                  <a:schemeClr val="bg1"/>
                </a:solidFill>
              </a:rPr>
              <a:t>and </a:t>
            </a:r>
            <a:r>
              <a:rPr lang="en-US" sz="1800" kern="0" dirty="0" smtClean="0">
                <a:solidFill>
                  <a:schemeClr val="bg1"/>
                </a:solidFill>
              </a:rPr>
              <a:t>socially  </a:t>
            </a:r>
          </a:p>
          <a:p>
            <a:pPr marL="0" indent="0">
              <a:buNone/>
            </a:pPr>
            <a:r>
              <a:rPr lang="en-US" sz="1800" kern="0" dirty="0">
                <a:solidFill>
                  <a:schemeClr val="bg1"/>
                </a:solidFill>
              </a:rPr>
              <a:t> </a:t>
            </a:r>
            <a:r>
              <a:rPr lang="en-US" sz="1800" kern="0" dirty="0" smtClean="0">
                <a:solidFill>
                  <a:schemeClr val="bg1"/>
                </a:solidFill>
              </a:rPr>
              <a:t>    responsible manner.</a:t>
            </a:r>
            <a:endParaRPr lang="en-US" sz="1800" kern="0" dirty="0">
              <a:solidFill>
                <a:schemeClr val="bg1"/>
              </a:solidFill>
            </a:endParaRPr>
          </a:p>
          <a:p>
            <a:endParaRPr lang="en-US" sz="1800" kern="0" dirty="0">
              <a:solidFill>
                <a:schemeClr val="bg1"/>
              </a:solidFill>
            </a:endParaRPr>
          </a:p>
        </p:txBody>
      </p:sp>
      <p:sp>
        <p:nvSpPr>
          <p:cNvPr id="11" name="Text Placeholder 2"/>
          <p:cNvSpPr txBox="1">
            <a:spLocks/>
          </p:cNvSpPr>
          <p:nvPr/>
        </p:nvSpPr>
        <p:spPr bwMode="auto">
          <a:xfrm>
            <a:off x="0" y="2008862"/>
            <a:ext cx="5248894" cy="108532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ffectLst>
            <a:outerShdw blurRad="225425" dist="50800" dir="5220000" algn="ctr">
              <a:srgbClr val="000000">
                <a:alpha val="33000"/>
              </a:srgbClr>
            </a:outerShdw>
          </a:effec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69863" indent="-169863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•"/>
              <a:defRPr sz="20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457200" indent="-223838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>
                <a:solidFill>
                  <a:srgbClr val="000000"/>
                </a:solidFill>
                <a:latin typeface="+mn-lt"/>
              </a:defRPr>
            </a:lvl2pPr>
            <a:lvl3pPr marL="690563" indent="-180975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•"/>
              <a:defRPr sz="1600">
                <a:solidFill>
                  <a:srgbClr val="000000"/>
                </a:solidFill>
                <a:latin typeface="+mn-lt"/>
              </a:defRPr>
            </a:lvl3pPr>
            <a:lvl4pPr marL="966788" indent="-222250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400">
                <a:solidFill>
                  <a:srgbClr val="000000"/>
                </a:solidFill>
                <a:latin typeface="+mn-lt"/>
              </a:defRPr>
            </a:lvl4pPr>
            <a:lvl5pPr marL="1147763" indent="-180975" algn="l" rtl="0" eaLnBrk="1" fontAlgn="base" hangingPunct="1">
              <a:lnSpc>
                <a:spcPct val="9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200">
                <a:solidFill>
                  <a:srgbClr val="000000"/>
                </a:solidFill>
                <a:latin typeface="+mn-lt"/>
              </a:defRPr>
            </a:lvl5pPr>
            <a:lvl6pPr marL="2540000" indent="-254000" algn="l" rtl="0" eaLnBrk="1" fontAlgn="base" hangingPunct="1">
              <a:lnSpc>
                <a:spcPct val="10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600">
                <a:solidFill>
                  <a:srgbClr val="000000"/>
                </a:solidFill>
                <a:latin typeface="+mn-lt"/>
              </a:defRPr>
            </a:lvl6pPr>
            <a:lvl7pPr marL="2997200" indent="-254000" algn="l" rtl="0" eaLnBrk="1" fontAlgn="base" hangingPunct="1">
              <a:lnSpc>
                <a:spcPct val="10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600">
                <a:solidFill>
                  <a:srgbClr val="000000"/>
                </a:solidFill>
                <a:latin typeface="+mn-lt"/>
              </a:defRPr>
            </a:lvl7pPr>
            <a:lvl8pPr marL="3454400" indent="-254000" algn="l" rtl="0" eaLnBrk="1" fontAlgn="base" hangingPunct="1">
              <a:lnSpc>
                <a:spcPct val="10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600">
                <a:solidFill>
                  <a:srgbClr val="000000"/>
                </a:solidFill>
                <a:latin typeface="+mn-lt"/>
              </a:defRPr>
            </a:lvl8pPr>
            <a:lvl9pPr marL="3911600" indent="-254000" algn="l" rtl="0" eaLnBrk="1" fontAlgn="base" hangingPunct="1">
              <a:lnSpc>
                <a:spcPct val="105000"/>
              </a:lnSpc>
              <a:spcBef>
                <a:spcPct val="20000"/>
              </a:spcBef>
              <a:spcAft>
                <a:spcPct val="0"/>
              </a:spcAft>
              <a:buSzPct val="100000"/>
              <a:buChar char="–"/>
              <a:defRPr sz="1600">
                <a:solidFill>
                  <a:srgbClr val="000000"/>
                </a:solidFill>
                <a:latin typeface="+mn-lt"/>
              </a:defRPr>
            </a:lvl9pPr>
          </a:lstStyle>
          <a:p>
            <a:pPr>
              <a:buFont typeface="Wingdings" panose="05000000000000000000" pitchFamily="2" charset="2"/>
              <a:buChar char="Ø"/>
            </a:pPr>
            <a:r>
              <a:rPr lang="en-US" sz="1800" kern="0" dirty="0" smtClean="0">
                <a:solidFill>
                  <a:schemeClr val="bg1"/>
                </a:solidFill>
              </a:rPr>
              <a:t>  Our team is</a:t>
            </a:r>
            <a:r>
              <a:rPr lang="en-GB" sz="1800" kern="0" dirty="0" smtClean="0">
                <a:solidFill>
                  <a:schemeClr val="bg1"/>
                </a:solidFill>
              </a:rPr>
              <a:t> </a:t>
            </a:r>
            <a:r>
              <a:rPr lang="en-US" sz="1800" kern="0" dirty="0" smtClean="0">
                <a:solidFill>
                  <a:schemeClr val="bg1"/>
                </a:solidFill>
              </a:rPr>
              <a:t>committed to continuously </a:t>
            </a:r>
          </a:p>
          <a:p>
            <a:pPr marL="0" indent="0">
              <a:buNone/>
            </a:pPr>
            <a:r>
              <a:rPr lang="en-US" sz="1800" kern="0" dirty="0">
                <a:solidFill>
                  <a:schemeClr val="bg1"/>
                </a:solidFill>
              </a:rPr>
              <a:t> </a:t>
            </a:r>
            <a:r>
              <a:rPr lang="en-US" sz="1800" kern="0" dirty="0" smtClean="0">
                <a:solidFill>
                  <a:schemeClr val="bg1"/>
                </a:solidFill>
              </a:rPr>
              <a:t>    exploring solutions in water conservation </a:t>
            </a:r>
          </a:p>
          <a:p>
            <a:pPr marL="0" indent="0">
              <a:buNone/>
            </a:pPr>
            <a:r>
              <a:rPr lang="en-US" sz="1800" kern="0" dirty="0">
                <a:solidFill>
                  <a:schemeClr val="bg1"/>
                </a:solidFill>
              </a:rPr>
              <a:t> </a:t>
            </a:r>
            <a:r>
              <a:rPr lang="en-US" sz="1800" kern="0" dirty="0" smtClean="0">
                <a:solidFill>
                  <a:schemeClr val="bg1"/>
                </a:solidFill>
              </a:rPr>
              <a:t>    to balance economy and ecology. </a:t>
            </a:r>
            <a:endParaRPr lang="en-US" sz="1000" kern="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23677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/>
      <p:bldP spid="7" grpId="0"/>
      <p:bldP spid="11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8062"/>
          <a:stretch/>
        </p:blipFill>
        <p:spPr>
          <a:xfrm>
            <a:off x="4786" y="0"/>
            <a:ext cx="9139213" cy="6858482"/>
          </a:xfrm>
          <a:prstGeom prst="rect">
            <a:avLst/>
          </a:prstGeom>
        </p:spPr>
      </p:pic>
      <p:sp>
        <p:nvSpPr>
          <p:cNvPr id="20" name="Rectangle 19"/>
          <p:cNvSpPr/>
          <p:nvPr/>
        </p:nvSpPr>
        <p:spPr>
          <a:xfrm>
            <a:off x="4786" y="4044506"/>
            <a:ext cx="9141944" cy="1217426"/>
          </a:xfrm>
          <a:prstGeom prst="rect">
            <a:avLst/>
          </a:prstGeom>
          <a:solidFill>
            <a:srgbClr val="000000">
              <a:alpha val="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ound Diagonal Corner Rectangle 20"/>
          <p:cNvSpPr/>
          <p:nvPr/>
        </p:nvSpPr>
        <p:spPr>
          <a:xfrm>
            <a:off x="239305" y="1924285"/>
            <a:ext cx="1920240" cy="2560320"/>
          </a:xfrm>
          <a:prstGeom prst="round2DiagRect">
            <a:avLst>
              <a:gd name="adj1" fmla="val 4636"/>
              <a:gd name="adj2" fmla="val 0"/>
            </a:avLst>
          </a:prstGeom>
          <a:noFill/>
          <a:ln w="76200" cap="rnd">
            <a:solidFill>
              <a:srgbClr val="29A3C9"/>
            </a:solidFill>
          </a:ln>
          <a:effectLst>
            <a:reflection blurRad="6350" stA="52000" endA="300" endPos="35000" dir="5400000" sy="-100000" algn="bl" rotWithShape="0"/>
          </a:effectLst>
          <a:scene3d>
            <a:camera prst="orthographicFront"/>
            <a:lightRig rig="soft" dir="t"/>
          </a:scene3d>
          <a:sp3d prstMaterial="matte">
            <a:bevelT/>
            <a:contourClr>
              <a:schemeClr val="accent3">
                <a:lumMod val="40000"/>
                <a:lumOff val="60000"/>
              </a:schemeClr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 </a:t>
            </a:r>
            <a:r>
              <a:rPr lang="en-US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urther improve WEI by another 15% in next two years</a:t>
            </a:r>
          </a:p>
          <a:p>
            <a:pPr algn="ctr">
              <a:lnSpc>
                <a:spcPct val="90000"/>
              </a:lnSpc>
            </a:pPr>
            <a:endParaRPr lang="en-US" sz="16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2" name="Round Diagonal Corner Rectangle 21"/>
          <p:cNvSpPr/>
          <p:nvPr/>
        </p:nvSpPr>
        <p:spPr>
          <a:xfrm>
            <a:off x="2455661" y="2135916"/>
            <a:ext cx="1920240" cy="2560320"/>
          </a:xfrm>
          <a:prstGeom prst="round2DiagRect">
            <a:avLst>
              <a:gd name="adj1" fmla="val 4635"/>
              <a:gd name="adj2" fmla="val 0"/>
            </a:avLst>
          </a:prstGeom>
          <a:noFill/>
          <a:ln w="76200" cap="rnd">
            <a:solidFill>
              <a:srgbClr val="29A3C9"/>
            </a:solidFill>
          </a:ln>
          <a:effectLst>
            <a:reflection blurRad="6350" stA="52000" endA="300" endPos="35000" dir="5400000" sy="-100000" algn="bl" rotWithShape="0"/>
          </a:effectLst>
          <a:scene3d>
            <a:camera prst="orthographicFront"/>
            <a:lightRig rig="soft" dir="t"/>
          </a:scene3d>
          <a:sp3d prstMaterial="matte">
            <a:bevelT/>
            <a:contourClr>
              <a:schemeClr val="accent3">
                <a:lumMod val="40000"/>
                <a:lumOff val="60000"/>
              </a:schemeClr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uild second Waste Water Reclaim </a:t>
            </a:r>
            <a:r>
              <a:rPr lang="en-US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ystem</a:t>
            </a:r>
            <a:endParaRPr lang="en-US" sz="16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3" name="Round Diagonal Corner Rectangle 22"/>
          <p:cNvSpPr/>
          <p:nvPr/>
        </p:nvSpPr>
        <p:spPr>
          <a:xfrm>
            <a:off x="4863403" y="1955975"/>
            <a:ext cx="1920240" cy="2560320"/>
          </a:xfrm>
          <a:prstGeom prst="round2DiagRect">
            <a:avLst>
              <a:gd name="adj1" fmla="val 5137"/>
              <a:gd name="adj2" fmla="val 0"/>
            </a:avLst>
          </a:prstGeom>
          <a:noFill/>
          <a:ln w="76200" cap="rnd">
            <a:solidFill>
              <a:srgbClr val="29A3C9"/>
            </a:solidFill>
          </a:ln>
          <a:effectLst/>
          <a:scene3d>
            <a:camera prst="orthographicFront"/>
            <a:lightRig rig="soft" dir="t"/>
          </a:scene3d>
          <a:sp3d prstMaterial="matte">
            <a:bevelT/>
            <a:contourClr>
              <a:schemeClr val="accent3">
                <a:lumMod val="40000"/>
                <a:lumOff val="60000"/>
              </a:schemeClr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tinue </a:t>
            </a:r>
            <a:r>
              <a:rPr lang="en-US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ind ways </a:t>
            </a:r>
            <a:r>
              <a:rPr lang="en-US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o conserve water</a:t>
            </a:r>
            <a:endParaRPr lang="en-US" sz="16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24" name="Round Diagonal Corner Rectangle 23"/>
          <p:cNvSpPr/>
          <p:nvPr/>
        </p:nvSpPr>
        <p:spPr>
          <a:xfrm>
            <a:off x="7067002" y="2135916"/>
            <a:ext cx="1920240" cy="2560320"/>
          </a:xfrm>
          <a:prstGeom prst="round2DiagRect">
            <a:avLst>
              <a:gd name="adj1" fmla="val 4635"/>
              <a:gd name="adj2" fmla="val 0"/>
            </a:avLst>
          </a:prstGeom>
          <a:noFill/>
          <a:ln w="76200" cap="rnd">
            <a:solidFill>
              <a:srgbClr val="29A3C9"/>
            </a:solidFill>
          </a:ln>
          <a:effectLst>
            <a:reflection blurRad="6350" stA="52000" endA="300" endPos="35000" dir="5400000" sy="-100000" algn="bl" rotWithShape="0"/>
          </a:effectLst>
          <a:scene3d>
            <a:camera prst="orthographicFront"/>
            <a:lightRig rig="soft" dir="t"/>
          </a:scene3d>
          <a:sp3d prstMaterial="matte">
            <a:bevelT/>
            <a:contourClr>
              <a:schemeClr val="accent3">
                <a:lumMod val="40000"/>
                <a:lumOff val="60000"/>
              </a:schemeClr>
            </a:contourClr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</a:pPr>
            <a:r>
              <a:rPr lang="en-US" sz="1600" b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Outreach to society for environmental </a:t>
            </a:r>
            <a:r>
              <a:rPr lang="en-US" sz="16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ustainability</a:t>
            </a:r>
            <a:endParaRPr lang="en-US" sz="16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lnSpc>
                <a:spcPct val="90000"/>
              </a:lnSpc>
            </a:pPr>
            <a:endParaRPr lang="en-US" sz="16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+mj-lt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927403" y="293177"/>
            <a:ext cx="5291924" cy="857095"/>
          </a:xfrm>
        </p:spPr>
        <p:txBody>
          <a:bodyPr/>
          <a:lstStyle/>
          <a:p>
            <a:r>
              <a:rPr lang="en-US" sz="4800" dirty="0" smtClean="0">
                <a:solidFill>
                  <a:schemeClr val="bg1"/>
                </a:solidFill>
                <a:latin typeface="Britannic Bold" pitchFamily="34" charset="0"/>
              </a:rPr>
              <a:t>Our Future Plan…</a:t>
            </a:r>
            <a:endParaRPr lang="en-US" sz="4800" dirty="0">
              <a:solidFill>
                <a:schemeClr val="bg1"/>
              </a:solidFill>
              <a:latin typeface="Britannic Bold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302229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5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6" presetClass="emph" presetSubtype="0" autoRev="1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Scale>
                                      <p:cBhvr>
                                        <p:cTn id="11" dur="500" fill="hold"/>
                                        <p:tgtEl>
                                          <p:spTgt spid="21"/>
                                        </p:tgtEl>
                                      </p:cBhvr>
                                      <p:by x="5000" y="5000"/>
                                    </p:animScale>
                                  </p:childTnLst>
                                </p:cTn>
                              </p:par>
                              <p:par>
                                <p:cTn id="12" presetID="5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4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15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6" presetClass="emph" presetSubtype="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18" dur="500" fill="hold"/>
                                        <p:tgtEl>
                                          <p:spTgt spid="22"/>
                                        </p:tgtEl>
                                      </p:cBhvr>
                                      <p:by x="5000" y="5000"/>
                                    </p:animScale>
                                  </p:childTnLst>
                                </p:cTn>
                              </p:par>
                              <p:par>
                                <p:cTn id="19" presetID="52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21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22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6" presetClass="emph" presetSubtype="0" autoRev="1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animScale>
                                      <p:cBhvr>
                                        <p:cTn id="25" dur="500" fill="hold"/>
                                        <p:tgtEl>
                                          <p:spTgt spid="23"/>
                                        </p:tgtEl>
                                      </p:cBhvr>
                                      <p:by x="5000" y="5000"/>
                                    </p:animScale>
                                  </p:childTnLst>
                                </p:cTn>
                              </p:par>
                              <p:par>
                                <p:cTn id="26" presetID="5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2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29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6" presetClass="emph" presetSubtype="0" autoRev="1" fill="hold" grpId="1" nodeType="withEffect">
                                  <p:stCondLst>
                                    <p:cond delay="500"/>
                                  </p:stCondLst>
                                  <p:childTnLst>
                                    <p:animScale>
                                      <p:cBhvr>
                                        <p:cTn id="32" dur="500" fill="hold"/>
                                        <p:tgtEl>
                                          <p:spTgt spid="24"/>
                                        </p:tgtEl>
                                      </p:cBhvr>
                                      <p:by x="5000" y="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1" grpId="0" animBg="1"/>
      <p:bldP spid="21" grpId="1" animBg="1"/>
      <p:bldP spid="22" grpId="0" animBg="1"/>
      <p:bldP spid="22" grpId="1" animBg="1"/>
      <p:bldP spid="23" grpId="0" animBg="1"/>
      <p:bldP spid="23" grpId="1" animBg="1"/>
      <p:bldP spid="24" grpId="0" animBg="1"/>
      <p:bldP spid="24" grpId="1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Title 1"/>
          <p:cNvSpPr txBox="1">
            <a:spLocks/>
          </p:cNvSpPr>
          <p:nvPr/>
        </p:nvSpPr>
        <p:spPr bwMode="auto">
          <a:xfrm>
            <a:off x="0" y="4128538"/>
            <a:ext cx="9144000" cy="2782867"/>
          </a:xfrm>
          <a:prstGeom prst="rect">
            <a:avLst/>
          </a:prstGeom>
          <a:gradFill>
            <a:gsLst>
              <a:gs pos="0">
                <a:srgbClr val="000082"/>
              </a:gs>
              <a:gs pos="13000">
                <a:srgbClr val="0047FF"/>
              </a:gs>
              <a:gs pos="28000">
                <a:srgbClr val="000082"/>
              </a:gs>
              <a:gs pos="42999">
                <a:srgbClr val="0047FF"/>
              </a:gs>
              <a:gs pos="58000">
                <a:srgbClr val="000082"/>
              </a:gs>
              <a:gs pos="72000">
                <a:srgbClr val="0047FF"/>
              </a:gs>
              <a:gs pos="87000">
                <a:srgbClr val="000082"/>
              </a:gs>
              <a:gs pos="100000">
                <a:srgbClr val="0047FF"/>
              </a:gs>
            </a:gsLst>
            <a:lin ang="5400000" scaled="0"/>
          </a:gradFill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2875CA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ctr"/>
            <a:r>
              <a:rPr lang="en-US" sz="2800" b="1" kern="0" cap="small" dirty="0" smtClean="0">
                <a:latin typeface="Constantia" pitchFamily="18" charset="0"/>
              </a:rPr>
              <a:t>Save Water save our planet</a:t>
            </a:r>
            <a:br>
              <a:rPr lang="en-US" sz="2800" b="1" kern="0" cap="small" dirty="0" smtClean="0">
                <a:latin typeface="Constantia" pitchFamily="18" charset="0"/>
              </a:rPr>
            </a:br>
            <a:r>
              <a:rPr lang="en-US" sz="2800" b="1" kern="0" cap="small" dirty="0" smtClean="0">
                <a:latin typeface="Constantia" pitchFamily="18" charset="0"/>
              </a:rPr>
              <a:t>Start with me</a:t>
            </a:r>
            <a:endParaRPr lang="en-US" sz="2800" b="1" kern="0" cap="small" dirty="0">
              <a:latin typeface="Constantia" pitchFamily="18" charset="0"/>
            </a:endParaRPr>
          </a:p>
        </p:txBody>
      </p:sp>
      <p:pic>
        <p:nvPicPr>
          <p:cNvPr id="33" name="Globe_converted.wmv">
            <a:hlinkClick r:id="" action="ppaction://media"/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xmlns="" r:embed="rId3">
                  <p14:bmkLst>
                    <p14:bmk name="Bookmark 1" time="1422.2222"/>
                    <p14:bmk name="Bookmark 2" time="6400"/>
                    <p14:bmk name="Bookmark 3" time="12977.7777"/>
                  </p14:bmkLst>
                </p14:media>
              </p:ext>
            </p:extLst>
          </p:nvPr>
        </p:nvPicPr>
        <p:blipFill rotWithShape="1">
          <a:blip r:embed="rId4" cstate="print"/>
          <a:srcRect l="22917" t="11667" r="20208" b="17500"/>
          <a:stretch/>
        </p:blipFill>
        <p:spPr>
          <a:xfrm>
            <a:off x="2137711" y="1241940"/>
            <a:ext cx="4975607" cy="4285677"/>
          </a:xfrm>
          <a:prstGeom prst="rect">
            <a:avLst/>
          </a:prstGeom>
        </p:spPr>
      </p:pic>
      <p:sp>
        <p:nvSpPr>
          <p:cNvPr id="34" name="Rectangle 6"/>
          <p:cNvSpPr/>
          <p:nvPr/>
        </p:nvSpPr>
        <p:spPr>
          <a:xfrm>
            <a:off x="-14696" y="1090336"/>
            <a:ext cx="9165266" cy="5070764"/>
          </a:xfrm>
          <a:custGeom>
            <a:avLst/>
            <a:gdLst/>
            <a:ahLst/>
            <a:cxnLst/>
            <a:rect l="l" t="t" r="r" b="b"/>
            <a:pathLst>
              <a:path w="6838950" h="3438525">
                <a:moveTo>
                  <a:pt x="3409950" y="314325"/>
                </a:moveTo>
                <a:cubicBezTo>
                  <a:pt x="2568268" y="314325"/>
                  <a:pt x="1885950" y="911353"/>
                  <a:pt x="1885950" y="1647825"/>
                </a:cubicBezTo>
                <a:cubicBezTo>
                  <a:pt x="1885950" y="2384297"/>
                  <a:pt x="2568268" y="2981325"/>
                  <a:pt x="3409950" y="2981325"/>
                </a:cubicBezTo>
                <a:cubicBezTo>
                  <a:pt x="4251632" y="2981325"/>
                  <a:pt x="4933950" y="2384297"/>
                  <a:pt x="4933950" y="1647825"/>
                </a:cubicBezTo>
                <a:cubicBezTo>
                  <a:pt x="4933950" y="911353"/>
                  <a:pt x="4251632" y="314325"/>
                  <a:pt x="3409950" y="314325"/>
                </a:cubicBezTo>
                <a:close/>
                <a:moveTo>
                  <a:pt x="0" y="0"/>
                </a:moveTo>
                <a:lnTo>
                  <a:pt x="6838950" y="0"/>
                </a:lnTo>
                <a:lnTo>
                  <a:pt x="6838950" y="3438525"/>
                </a:lnTo>
                <a:lnTo>
                  <a:pt x="0" y="3438525"/>
                </a:lnTo>
                <a:close/>
              </a:path>
            </a:pathLst>
          </a:custGeom>
          <a:gradFill>
            <a:gsLst>
              <a:gs pos="0">
                <a:srgbClr val="0000FF"/>
              </a:gs>
              <a:gs pos="13000">
                <a:srgbClr val="0047FF"/>
              </a:gs>
              <a:gs pos="28000">
                <a:srgbClr val="000082"/>
              </a:gs>
              <a:gs pos="42999">
                <a:srgbClr val="0047FF"/>
              </a:gs>
              <a:gs pos="58000">
                <a:srgbClr val="000082"/>
              </a:gs>
              <a:gs pos="72000">
                <a:srgbClr val="0047FF"/>
              </a:gs>
              <a:gs pos="87000">
                <a:srgbClr val="000082"/>
              </a:gs>
              <a:gs pos="100000">
                <a:srgbClr val="0047FF"/>
              </a:gs>
            </a:gsLst>
            <a:lin ang="5400000" scaled="0"/>
          </a:gra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Title 1"/>
          <p:cNvSpPr txBox="1">
            <a:spLocks/>
          </p:cNvSpPr>
          <p:nvPr/>
        </p:nvSpPr>
        <p:spPr bwMode="auto">
          <a:xfrm>
            <a:off x="-14696" y="0"/>
            <a:ext cx="9158696" cy="1092531"/>
          </a:xfrm>
          <a:prstGeom prst="rect">
            <a:avLst/>
          </a:prstGeom>
          <a:solidFill>
            <a:srgbClr val="0000FF"/>
          </a:solidFill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2875CA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ctr"/>
            <a:endParaRPr lang="en-US" sz="2800" b="1" kern="0" cap="small" dirty="0">
              <a:solidFill>
                <a:schemeClr val="bg1"/>
              </a:solidFill>
              <a:latin typeface="Constantia" pitchFamily="18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1922" t="38905" r="46857" b="36015"/>
          <a:stretch/>
        </p:blipFill>
        <p:spPr bwMode="auto">
          <a:xfrm>
            <a:off x="76526" y="45395"/>
            <a:ext cx="1131831" cy="1423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1990453" y="169292"/>
            <a:ext cx="5319993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kern="0" cap="small" dirty="0">
                <a:solidFill>
                  <a:schemeClr val="bg1"/>
                </a:solidFill>
                <a:latin typeface="Constantia" pitchFamily="18" charset="0"/>
              </a:rPr>
              <a:t>Save Water save our planet</a:t>
            </a:r>
            <a:br>
              <a:rPr lang="en-US" sz="2800" b="1" kern="0" cap="small" dirty="0">
                <a:solidFill>
                  <a:schemeClr val="bg1"/>
                </a:solidFill>
                <a:latin typeface="Constantia" pitchFamily="18" charset="0"/>
              </a:rPr>
            </a:br>
            <a:endParaRPr lang="en-US" sz="2800" b="1" kern="0" cap="small" dirty="0">
              <a:solidFill>
                <a:schemeClr val="bg1"/>
              </a:solidFill>
              <a:latin typeface="Constantia" pitchFamily="18" charset="0"/>
            </a:endParaRPr>
          </a:p>
        </p:txBody>
      </p:sp>
      <p:sp>
        <p:nvSpPr>
          <p:cNvPr id="47" name="Rectangle 46"/>
          <p:cNvSpPr/>
          <p:nvPr/>
        </p:nvSpPr>
        <p:spPr>
          <a:xfrm>
            <a:off x="1688095" y="790585"/>
            <a:ext cx="592471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600" b="1" kern="0" cap="small" dirty="0" smtClean="0">
                <a:solidFill>
                  <a:schemeClr val="bg1"/>
                </a:solidFill>
                <a:latin typeface="Constantia" pitchFamily="18" charset="0"/>
              </a:rPr>
              <a:t>Singapore Submarine 577</a:t>
            </a:r>
            <a:endParaRPr lang="en-US" sz="3600" b="1" kern="0" cap="small" dirty="0">
              <a:solidFill>
                <a:schemeClr val="bg1"/>
              </a:solidFill>
              <a:latin typeface="Constantia" pitchFamily="18" charset="0"/>
            </a:endParaRPr>
          </a:p>
        </p:txBody>
      </p:sp>
      <p:sp>
        <p:nvSpPr>
          <p:cNvPr id="48" name="Rectangle 47"/>
          <p:cNvSpPr/>
          <p:nvPr/>
        </p:nvSpPr>
        <p:spPr>
          <a:xfrm>
            <a:off x="2127427" y="5617459"/>
            <a:ext cx="4865423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800" b="1" kern="0" cap="small" dirty="0" smtClean="0">
                <a:solidFill>
                  <a:schemeClr val="bg1"/>
                </a:solidFill>
                <a:latin typeface="Constantia" pitchFamily="18" charset="0"/>
              </a:rPr>
              <a:t>Never before possible, possible!</a:t>
            </a:r>
            <a:r>
              <a:rPr lang="en-US" sz="2800" b="1" kern="0" cap="small" dirty="0">
                <a:solidFill>
                  <a:schemeClr val="bg1"/>
                </a:solidFill>
                <a:latin typeface="Constantia" pitchFamily="18" charset="0"/>
              </a:rPr>
              <a:t/>
            </a:r>
            <a:br>
              <a:rPr lang="en-US" sz="2800" b="1" kern="0" cap="small" dirty="0">
                <a:solidFill>
                  <a:schemeClr val="bg1"/>
                </a:solidFill>
                <a:latin typeface="Constantia" pitchFamily="18" charset="0"/>
              </a:rPr>
            </a:br>
            <a:endParaRPr lang="en-US" sz="2800" b="1" kern="0" cap="small" dirty="0">
              <a:solidFill>
                <a:schemeClr val="bg1"/>
              </a:solidFill>
              <a:latin typeface="Constantia" pitchFamily="18" charset="0"/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556415" y="1411037"/>
            <a:ext cx="7651919" cy="406163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xmlns="" val="36873991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6000" fill="hold"/>
                                        <p:tgtEl>
                                          <p:spTgt spid="3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5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33" repeatCount="indefinite" fill="hold" display="0">
                  <p:stCondLst>
                    <p:cond delay="indefinite"/>
                  </p:stCondLst>
                  <p:endCondLst>
                    <p:cond evt="onPrev" delay="0">
                      <p:tgtEl>
                        <p:sldTgt/>
                      </p:tgtEl>
                    </p:cond>
                  </p:endCondLst>
                </p:cTn>
                <p:tgtEl>
                  <p:spTgt spid="33"/>
                </p:tgtEl>
              </p:cMediaNode>
            </p:video>
          </p:childTnLst>
        </p:cTn>
      </p:par>
    </p:tnLst>
    <p:bldLst>
      <p:bldP spid="2" grpId="0"/>
      <p:bldP spid="47" grpId="0"/>
      <p:bldP spid="48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3"/>
          <p:cNvSpPr txBox="1">
            <a:spLocks noChangeArrowheads="1"/>
          </p:cNvSpPr>
          <p:nvPr/>
        </p:nvSpPr>
        <p:spPr bwMode="auto">
          <a:xfrm>
            <a:off x="285550" y="1170289"/>
            <a:ext cx="3867150" cy="64611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rgbClr val="000000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rgbClr val="000000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rgbClr val="000000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rgbClr val="000000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rgbClr val="000000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/>
            <a:r>
              <a:rPr lang="en-US" altLang="en-US" sz="3600">
                <a:solidFill>
                  <a:srgbClr val="FF0000"/>
                </a:solidFill>
              </a:rPr>
              <a:t> </a:t>
            </a:r>
          </a:p>
        </p:txBody>
      </p:sp>
      <p:pic>
        <p:nvPicPr>
          <p:cNvPr id="22" name="Picture 2" descr="C:\Users\nly18290\AppData\Local\Microsoft\Windows\Temporary Internet Files\Content.Outlook\6ZM5BHSU\Graph-Healthy-People-Sustainable-World_Divya_v2 (3).jpg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-101"/>
          <a:stretch>
            <a:fillRect/>
          </a:stretch>
        </p:blipFill>
        <p:spPr bwMode="auto">
          <a:xfrm>
            <a:off x="285550" y="1903714"/>
            <a:ext cx="5889625" cy="3930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Picture 4" descr="http://pww.lighting.philips.com/apps/p_dir/e3122401.nsf/resources/social-innovation-banner-v2/$file/sustainability-new-home-page-v6.jpg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0000" t="66144"/>
          <a:stretch>
            <a:fillRect/>
          </a:stretch>
        </p:blipFill>
        <p:spPr bwMode="auto">
          <a:xfrm>
            <a:off x="4435275" y="5820076"/>
            <a:ext cx="1860551" cy="876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Picture 4" descr="http://pww.lighting.philips.com/apps/p_dir/e3122401.nsf/resources/social-innovation-banner-v2/$file/sustainability-new-home-page-v6.jpg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r="50000" b="67307"/>
          <a:stretch>
            <a:fillRect/>
          </a:stretch>
        </p:blipFill>
        <p:spPr bwMode="auto">
          <a:xfrm>
            <a:off x="6529388" y="1513505"/>
            <a:ext cx="2409825" cy="847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27" descr="http://pww.lighting.philips.com/apps/p_dir/e3122401.nsf/resources/social-innovation-banner-v2/$file/sustainability-new-home-page-v6.jpg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0000" b="66579"/>
          <a:stretch>
            <a:fillRect/>
          </a:stretch>
        </p:blipFill>
        <p:spPr bwMode="auto">
          <a:xfrm>
            <a:off x="6525579" y="3228005"/>
            <a:ext cx="2408237" cy="865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4" descr="http://pww.lighting.philips.com/apps/p_dir/e3122401.nsf/resources/social-innovation-banner-v2/$file/sustainability-new-home-page-v6.jpg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33015" r="50000" b="33492"/>
          <a:stretch>
            <a:fillRect/>
          </a:stretch>
        </p:blipFill>
        <p:spPr bwMode="auto">
          <a:xfrm>
            <a:off x="6533516" y="2361230"/>
            <a:ext cx="2409825" cy="866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7" name="Picture 4" descr="http://pww.lighting.philips.com/apps/p_dir/e3122401.nsf/resources/social-innovation-banner-v2/$file/sustainability-new-home-page-v6.jpg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50000" t="32692" b="33653"/>
          <a:stretch>
            <a:fillRect/>
          </a:stretch>
        </p:blipFill>
        <p:spPr bwMode="auto">
          <a:xfrm>
            <a:off x="231576" y="5813726"/>
            <a:ext cx="1987550" cy="877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4" descr="http://pww.lighting.philips.com/apps/p_dir/e3122401.nsf/resources/social-innovation-banner-v2/$file/sustainability-new-home-page-v6.jpg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65875" r="50000"/>
          <a:stretch>
            <a:fillRect/>
          </a:stretch>
        </p:blipFill>
        <p:spPr bwMode="auto">
          <a:xfrm>
            <a:off x="2301357" y="5807671"/>
            <a:ext cx="2082683" cy="882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91470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" name="Title 1"/>
          <p:cNvSpPr txBox="1">
            <a:spLocks/>
          </p:cNvSpPr>
          <p:nvPr/>
        </p:nvSpPr>
        <p:spPr>
          <a:xfrm>
            <a:off x="1022492" y="372391"/>
            <a:ext cx="4343058" cy="41717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2875CA"/>
                </a:solidFill>
                <a:effectLst/>
                <a:uLnTx/>
                <a:uFillTx/>
                <a:latin typeface="Britannic Bold" pitchFamily="34" charset="0"/>
                <a:ea typeface="+mj-ea"/>
                <a:cs typeface="+mj-cs"/>
              </a:rPr>
              <a:t>Project Problem Definition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2875CA"/>
              </a:solidFill>
              <a:effectLst/>
              <a:uLnTx/>
              <a:uFillTx/>
              <a:latin typeface="Britannic Bold" pitchFamily="34" charset="0"/>
              <a:ea typeface="+mj-ea"/>
              <a:cs typeface="+mj-cs"/>
            </a:endParaRPr>
          </a:p>
        </p:txBody>
      </p:sp>
      <p:grpSp>
        <p:nvGrpSpPr>
          <p:cNvPr id="39" name="Group 38"/>
          <p:cNvGrpSpPr/>
          <p:nvPr/>
        </p:nvGrpSpPr>
        <p:grpSpPr>
          <a:xfrm rot="264182">
            <a:off x="86596" y="91470"/>
            <a:ext cx="777240" cy="777240"/>
            <a:chOff x="3728638" y="1092389"/>
            <a:chExt cx="914400" cy="914400"/>
          </a:xfrm>
        </p:grpSpPr>
        <p:grpSp>
          <p:nvGrpSpPr>
            <p:cNvPr id="40" name="Group 39"/>
            <p:cNvGrpSpPr/>
            <p:nvPr/>
          </p:nvGrpSpPr>
          <p:grpSpPr>
            <a:xfrm>
              <a:off x="3728638" y="1092389"/>
              <a:ext cx="914400" cy="914400"/>
              <a:chOff x="2378075" y="502896"/>
              <a:chExt cx="2066925" cy="2066925"/>
            </a:xfrm>
          </p:grpSpPr>
          <p:grpSp>
            <p:nvGrpSpPr>
              <p:cNvPr id="42" name="Group 28"/>
              <p:cNvGrpSpPr>
                <a:grpSpLocks/>
              </p:cNvGrpSpPr>
              <p:nvPr/>
            </p:nvGrpSpPr>
            <p:grpSpPr bwMode="auto">
              <a:xfrm>
                <a:off x="2378075" y="502896"/>
                <a:ext cx="2066925" cy="2066925"/>
                <a:chOff x="2333625" y="219075"/>
                <a:chExt cx="2066236" cy="2066236"/>
              </a:xfrm>
            </p:grpSpPr>
            <p:grpSp>
              <p:nvGrpSpPr>
                <p:cNvPr id="48" name="Group 154"/>
                <p:cNvGrpSpPr>
                  <a:grpSpLocks/>
                </p:cNvGrpSpPr>
                <p:nvPr/>
              </p:nvGrpSpPr>
              <p:grpSpPr bwMode="auto">
                <a:xfrm>
                  <a:off x="2333625" y="219075"/>
                  <a:ext cx="2066236" cy="2066236"/>
                  <a:chOff x="2844111" y="1118742"/>
                  <a:chExt cx="3508375" cy="3508375"/>
                </a:xfrm>
              </p:grpSpPr>
              <p:sp>
                <p:nvSpPr>
                  <p:cNvPr id="50" name="Freeform 6"/>
                  <p:cNvSpPr>
                    <a:spLocks noEditPoints="1"/>
                  </p:cNvSpPr>
                  <p:nvPr>
                    <p:custDataLst>
                      <p:tags r:id="rId9"/>
                    </p:custDataLst>
                  </p:nvPr>
                </p:nvSpPr>
                <p:spPr bwMode="gray">
                  <a:xfrm rot="3600000">
                    <a:off x="2844111" y="1118742"/>
                    <a:ext cx="3508375" cy="3508375"/>
                  </a:xfrm>
                  <a:custGeom>
                    <a:avLst/>
                    <a:gdLst/>
                    <a:ahLst/>
                    <a:cxnLst>
                      <a:cxn ang="0">
                        <a:pos x="292" y="0"/>
                      </a:cxn>
                      <a:cxn ang="0">
                        <a:pos x="0" y="293"/>
                      </a:cxn>
                      <a:cxn ang="0">
                        <a:pos x="292" y="585"/>
                      </a:cxn>
                      <a:cxn ang="0">
                        <a:pos x="585" y="293"/>
                      </a:cxn>
                      <a:cxn ang="0">
                        <a:pos x="292" y="0"/>
                      </a:cxn>
                      <a:cxn ang="0">
                        <a:pos x="292" y="539"/>
                      </a:cxn>
                      <a:cxn ang="0">
                        <a:pos x="46" y="293"/>
                      </a:cxn>
                      <a:cxn ang="0">
                        <a:pos x="292" y="46"/>
                      </a:cxn>
                      <a:cxn ang="0">
                        <a:pos x="539" y="293"/>
                      </a:cxn>
                      <a:cxn ang="0">
                        <a:pos x="292" y="539"/>
                      </a:cxn>
                    </a:cxnLst>
                    <a:rect l="0" t="0" r="r" b="b"/>
                    <a:pathLst>
                      <a:path w="585" h="585">
                        <a:moveTo>
                          <a:pt x="292" y="0"/>
                        </a:moveTo>
                        <a:cubicBezTo>
                          <a:pt x="131" y="0"/>
                          <a:pt x="0" y="131"/>
                          <a:pt x="0" y="293"/>
                        </a:cubicBezTo>
                        <a:cubicBezTo>
                          <a:pt x="0" y="454"/>
                          <a:pt x="131" y="585"/>
                          <a:pt x="292" y="585"/>
                        </a:cubicBezTo>
                        <a:cubicBezTo>
                          <a:pt x="454" y="585"/>
                          <a:pt x="585" y="454"/>
                          <a:pt x="585" y="293"/>
                        </a:cubicBezTo>
                        <a:cubicBezTo>
                          <a:pt x="585" y="131"/>
                          <a:pt x="454" y="0"/>
                          <a:pt x="292" y="0"/>
                        </a:cubicBezTo>
                        <a:close/>
                        <a:moveTo>
                          <a:pt x="292" y="539"/>
                        </a:moveTo>
                        <a:cubicBezTo>
                          <a:pt x="156" y="539"/>
                          <a:pt x="46" y="429"/>
                          <a:pt x="46" y="293"/>
                        </a:cubicBezTo>
                        <a:cubicBezTo>
                          <a:pt x="46" y="156"/>
                          <a:pt x="156" y="46"/>
                          <a:pt x="292" y="46"/>
                        </a:cubicBezTo>
                        <a:cubicBezTo>
                          <a:pt x="429" y="46"/>
                          <a:pt x="539" y="156"/>
                          <a:pt x="539" y="293"/>
                        </a:cubicBezTo>
                        <a:cubicBezTo>
                          <a:pt x="539" y="429"/>
                          <a:pt x="429" y="539"/>
                          <a:pt x="292" y="539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4"/>
                  </a:lnRef>
                  <a:fillRef idx="3">
                    <a:schemeClr val="accent4"/>
                  </a:fillRef>
                  <a:effectRef idx="3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sz="900"/>
                  </a:p>
                </p:txBody>
              </p:sp>
              <p:sp>
                <p:nvSpPr>
                  <p:cNvPr id="51" name="Ellipse 12"/>
                  <p:cNvSpPr>
                    <a:spLocks noChangeArrowheads="1"/>
                  </p:cNvSpPr>
                  <p:nvPr/>
                </p:nvSpPr>
                <p:spPr bwMode="auto">
                  <a:xfrm>
                    <a:off x="3948899" y="2247780"/>
                    <a:ext cx="1279938" cy="127993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353637"/>
                      </a:gs>
                      <a:gs pos="100000">
                        <a:srgbClr val="151616"/>
                      </a:gs>
                    </a:gsLst>
                    <a:path path="shape">
                      <a:fillToRect l="50000" t="50000" r="50000" b="50000"/>
                    </a:path>
                  </a:gradFill>
                  <a:ln w="9525">
                    <a:solidFill>
                      <a:srgbClr val="191919"/>
                    </a:solidFill>
                    <a:round/>
                    <a:headEnd/>
                    <a:tailEnd/>
                  </a:ln>
                  <a:effectLst>
                    <a:outerShdw dist="23000" dir="5400000" rotWithShape="0">
                      <a:srgbClr val="808080">
                        <a:alpha val="34999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latin typeface="Calibri" charset="0"/>
                    </a:endParaRPr>
                  </a:p>
                </p:txBody>
              </p:sp>
              <p:sp>
                <p:nvSpPr>
                  <p:cNvPr id="52" name="Ellipse 13"/>
                  <p:cNvSpPr/>
                  <p:nvPr/>
                </p:nvSpPr>
                <p:spPr bwMode="auto">
                  <a:xfrm>
                    <a:off x="4118660" y="2304368"/>
                    <a:ext cx="940416" cy="692512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tx2">
                          <a:lumMod val="40000"/>
                          <a:lumOff val="60000"/>
                          <a:alpha val="0"/>
                        </a:schemeClr>
                      </a:gs>
                      <a:gs pos="100000">
                        <a:schemeClr val="bg1">
                          <a:alpha val="77000"/>
                        </a:schemeClr>
                      </a:gs>
                    </a:gsLst>
                    <a:lin ang="162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ea typeface="ＭＳ Ｐゴシック" charset="-128"/>
                    </a:endParaRPr>
                  </a:p>
                </p:txBody>
              </p:sp>
              <p:sp>
                <p:nvSpPr>
                  <p:cNvPr id="53" name="Block Arc 52"/>
                  <p:cNvSpPr/>
                  <p:nvPr/>
                </p:nvSpPr>
                <p:spPr>
                  <a:xfrm rot="18729919">
                    <a:off x="3230788" y="1508111"/>
                    <a:ext cx="2726940" cy="2729633"/>
                  </a:xfrm>
                  <a:prstGeom prst="blockArc">
                    <a:avLst>
                      <a:gd name="adj1" fmla="val 574634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900"/>
                  </a:p>
                </p:txBody>
              </p:sp>
              <p:sp>
                <p:nvSpPr>
                  <p:cNvPr id="54" name="Block Arc 53"/>
                  <p:cNvSpPr/>
                  <p:nvPr/>
                </p:nvSpPr>
                <p:spPr>
                  <a:xfrm rot="1352524">
                    <a:off x="3229440" y="1509459"/>
                    <a:ext cx="2729633" cy="2726940"/>
                  </a:xfrm>
                  <a:prstGeom prst="blockArc">
                    <a:avLst>
                      <a:gd name="adj1" fmla="val 596470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55" name="Block Arc 54"/>
                  <p:cNvSpPr/>
                  <p:nvPr/>
                </p:nvSpPr>
                <p:spPr>
                  <a:xfrm rot="5869595">
                    <a:off x="3230788" y="1508111"/>
                    <a:ext cx="2726940" cy="2729633"/>
                  </a:xfrm>
                  <a:prstGeom prst="blockArc">
                    <a:avLst>
                      <a:gd name="adj1" fmla="val 5627424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56" name="Block Arc 55"/>
                  <p:cNvSpPr/>
                  <p:nvPr/>
                </p:nvSpPr>
                <p:spPr>
                  <a:xfrm rot="10291675">
                    <a:off x="3229440" y="1509459"/>
                    <a:ext cx="2729633" cy="2726940"/>
                  </a:xfrm>
                  <a:prstGeom prst="blockArc">
                    <a:avLst>
                      <a:gd name="adj1" fmla="val 5803831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57" name="Block Arc 56"/>
                  <p:cNvSpPr/>
                  <p:nvPr/>
                </p:nvSpPr>
                <p:spPr>
                  <a:xfrm rot="14301489">
                    <a:off x="3230788" y="1508111"/>
                    <a:ext cx="2726940" cy="2729633"/>
                  </a:xfrm>
                  <a:prstGeom prst="blockArc">
                    <a:avLst>
                      <a:gd name="adj1" fmla="val 6140645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</p:grpSp>
            <p:sp>
              <p:nvSpPr>
                <p:cNvPr id="49" name="Ellipse 15"/>
                <p:cNvSpPr/>
                <p:nvPr/>
              </p:nvSpPr>
              <p:spPr bwMode="auto">
                <a:xfrm>
                  <a:off x="2763695" y="465055"/>
                  <a:ext cx="1237837" cy="91568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900" dirty="0"/>
                </a:p>
              </p:txBody>
            </p:sp>
          </p:grpSp>
          <p:sp>
            <p:nvSpPr>
              <p:cNvPr id="43" name="TextBox 29"/>
              <p:cNvSpPr txBox="1">
                <a:spLocks noChangeArrowheads="1"/>
              </p:cNvSpPr>
              <p:nvPr/>
            </p:nvSpPr>
            <p:spPr bwMode="auto">
              <a:xfrm>
                <a:off x="2754110" y="771753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D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44" name="TextBox 29"/>
              <p:cNvSpPr txBox="1">
                <a:spLocks noChangeArrowheads="1"/>
              </p:cNvSpPr>
              <p:nvPr/>
            </p:nvSpPr>
            <p:spPr bwMode="auto">
              <a:xfrm>
                <a:off x="2584640" y="1514847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M</a:t>
                </a:r>
              </a:p>
            </p:txBody>
          </p:sp>
          <p:sp>
            <p:nvSpPr>
              <p:cNvPr id="45" name="TextBox 29"/>
              <p:cNvSpPr txBox="1">
                <a:spLocks noChangeArrowheads="1"/>
              </p:cNvSpPr>
              <p:nvPr/>
            </p:nvSpPr>
            <p:spPr bwMode="auto">
              <a:xfrm>
                <a:off x="3253164" y="1880209"/>
                <a:ext cx="289718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A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46" name="TextBox 29"/>
              <p:cNvSpPr txBox="1">
                <a:spLocks noChangeArrowheads="1"/>
              </p:cNvSpPr>
              <p:nvPr/>
            </p:nvSpPr>
            <p:spPr bwMode="auto">
              <a:xfrm>
                <a:off x="3844923" y="13567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I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47" name="TextBox 29"/>
              <p:cNvSpPr txBox="1">
                <a:spLocks noChangeArrowheads="1"/>
              </p:cNvSpPr>
              <p:nvPr/>
            </p:nvSpPr>
            <p:spPr bwMode="auto">
              <a:xfrm>
                <a:off x="3487620" y="7158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C</a:t>
                </a:r>
              </a:p>
            </p:txBody>
          </p:sp>
        </p:grpSp>
        <p:sp>
          <p:nvSpPr>
            <p:cNvPr id="41" name="TextBox 29"/>
            <p:cNvSpPr txBox="1">
              <a:spLocks noChangeArrowheads="1"/>
            </p:cNvSpPr>
            <p:nvPr/>
          </p:nvSpPr>
          <p:spPr bwMode="auto">
            <a:xfrm rot="21335818">
              <a:off x="4043204" y="1353960"/>
              <a:ext cx="128171" cy="398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da-DK" sz="1600" b="1" dirty="0">
                  <a:solidFill>
                    <a:schemeClr val="bg1"/>
                  </a:solidFill>
                </a:rPr>
                <a:t>D</a:t>
              </a:r>
            </a:p>
          </p:txBody>
        </p:sp>
      </p:grpSp>
      <p:grpSp>
        <p:nvGrpSpPr>
          <p:cNvPr id="58" name="Group 57"/>
          <p:cNvGrpSpPr/>
          <p:nvPr/>
        </p:nvGrpSpPr>
        <p:grpSpPr>
          <a:xfrm>
            <a:off x="0" y="1033153"/>
            <a:ext cx="9144000" cy="462272"/>
            <a:chOff x="0" y="0"/>
            <a:chExt cx="9144000" cy="556968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59" name="Rectangle 58"/>
            <p:cNvSpPr/>
            <p:nvPr/>
          </p:nvSpPr>
          <p:spPr>
            <a:xfrm>
              <a:off x="0" y="0"/>
              <a:ext cx="9144000" cy="556968"/>
            </a:xfrm>
            <a:prstGeom prst="rect">
              <a:avLst/>
            </a:prstGeom>
            <a:sp3d prstMaterial="plastic">
              <a:bevelT w="127000" h="25400" prst="relaxedInset"/>
              <a:bevelB w="88900" h="121750" prst="angle"/>
            </a:sp3d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shade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shade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60" name="Rectangle 59"/>
            <p:cNvSpPr/>
            <p:nvPr/>
          </p:nvSpPr>
          <p:spPr>
            <a:xfrm>
              <a:off x="0" y="0"/>
              <a:ext cx="9144000" cy="55696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Aft>
                  <a:spcPct val="35000"/>
                </a:spcAft>
              </a:pPr>
              <a:r>
                <a:rPr lang="en-US" kern="1200" dirty="0" smtClean="0"/>
                <a:t>Philips Sustainability Vision and Water Footprint</a:t>
              </a:r>
              <a:endParaRPr lang="en-US" kern="1200" dirty="0"/>
            </a:p>
          </p:txBody>
        </p:sp>
      </p:grpSp>
      <p:sp>
        <p:nvSpPr>
          <p:cNvPr id="61" name="Rectangle 13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67912" y="1872033"/>
            <a:ext cx="4745771" cy="1547982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  <a:effectLst>
            <a:outerShdw blurRad="184150" dist="241300" dir="11520000" sx="110000" sy="110000" algn="ctr">
              <a:srgbClr val="000000">
                <a:alpha val="18000"/>
              </a:srgbClr>
            </a:outerShdw>
          </a:effectLst>
          <a:scene3d>
            <a:camera prst="orthographicFront"/>
            <a:lightRig rig="flood" dir="t">
              <a:rot lat="0" lon="0" rev="13800000"/>
            </a:lightRig>
          </a:scene3d>
          <a:sp3d extrusionH="107950" prstMaterial="plastic"/>
        </p:spPr>
        <p:txBody>
          <a:bodyPr lIns="0" tIns="0" rIns="0" bIns="0"/>
          <a:lstStyle/>
          <a:p>
            <a:pPr>
              <a:defRPr/>
            </a:pPr>
            <a:r>
              <a:rPr lang="en-US" sz="2800" b="1" dirty="0" smtClean="0">
                <a:solidFill>
                  <a:srgbClr val="081AC4"/>
                </a:solidFill>
                <a:latin typeface="+mj-lt"/>
                <a:ea typeface="+mj-ea"/>
                <a:cs typeface="+mj-cs"/>
              </a:rPr>
              <a:t>Vision</a:t>
            </a:r>
            <a:endParaRPr lang="en-US" sz="2800" b="1" dirty="0">
              <a:solidFill>
                <a:srgbClr val="081AC4"/>
              </a:solidFill>
              <a:latin typeface="+mj-lt"/>
              <a:ea typeface="+mj-ea"/>
              <a:cs typeface="+mj-cs"/>
            </a:endParaRPr>
          </a:p>
          <a:p>
            <a:pPr>
              <a:defRPr/>
            </a:pPr>
            <a:endParaRPr lang="en-US" dirty="0" smtClean="0">
              <a:solidFill>
                <a:srgbClr val="081AC4"/>
              </a:solidFill>
              <a:latin typeface="+mj-lt"/>
              <a:ea typeface="+mj-ea"/>
              <a:cs typeface="+mj-cs"/>
            </a:endParaRPr>
          </a:p>
          <a:p>
            <a:pPr>
              <a:defRPr/>
            </a:pPr>
            <a:r>
              <a:rPr lang="en-US" dirty="0" smtClean="0">
                <a:solidFill>
                  <a:srgbClr val="081AC4"/>
                </a:solidFill>
                <a:latin typeface="+mj-lt"/>
                <a:ea typeface="+mj-ea"/>
                <a:cs typeface="+mj-cs"/>
              </a:rPr>
              <a:t>At </a:t>
            </a:r>
            <a:r>
              <a:rPr lang="en-US" dirty="0">
                <a:solidFill>
                  <a:srgbClr val="081AC4"/>
                </a:solidFill>
                <a:latin typeface="+mj-lt"/>
                <a:ea typeface="+mj-ea"/>
                <a:cs typeface="+mj-cs"/>
              </a:rPr>
              <a:t>Philips we strive to make the world healthier and more sustainable through Innovation.</a:t>
            </a:r>
          </a:p>
        </p:txBody>
      </p:sp>
      <p:cxnSp>
        <p:nvCxnSpPr>
          <p:cNvPr id="9" name="Elbow Connector 8"/>
          <p:cNvCxnSpPr/>
          <p:nvPr/>
        </p:nvCxnSpPr>
        <p:spPr bwMode="auto">
          <a:xfrm rot="16200000" flipH="1">
            <a:off x="5771965" y="5054850"/>
            <a:ext cx="1985863" cy="154251"/>
          </a:xfrm>
          <a:prstGeom prst="bentConnector2">
            <a:avLst/>
          </a:prstGeom>
          <a:ln>
            <a:prstDash val="dash"/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63" name="Straight Arrow Connector 62"/>
          <p:cNvCxnSpPr/>
          <p:nvPr/>
        </p:nvCxnSpPr>
        <p:spPr bwMode="auto">
          <a:xfrm>
            <a:off x="6707989" y="4849203"/>
            <a:ext cx="120959" cy="0"/>
          </a:xfrm>
          <a:prstGeom prst="straightConnector1">
            <a:avLst/>
          </a:prstGeom>
          <a:ln>
            <a:prstDash val="dash"/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41204" t="36765" r="24302" b="26471"/>
          <a:stretch/>
        </p:blipFill>
        <p:spPr bwMode="auto">
          <a:xfrm>
            <a:off x="6842022" y="5480874"/>
            <a:ext cx="2091794" cy="13026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2" name="Picture 2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6710" t="36765" r="58796" b="26471"/>
          <a:stretch/>
        </p:blipFill>
        <p:spPr bwMode="auto">
          <a:xfrm>
            <a:off x="6820930" y="4146358"/>
            <a:ext cx="2118283" cy="12567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5740155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4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0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9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6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5537282"/>
            <a:ext cx="9144000" cy="1320718"/>
          </a:xfrm>
          <a:prstGeom prst="rect">
            <a:avLst/>
          </a:prstGeom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91470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itle 1"/>
          <p:cNvSpPr txBox="1">
            <a:spLocks/>
          </p:cNvSpPr>
          <p:nvPr/>
        </p:nvSpPr>
        <p:spPr>
          <a:xfrm>
            <a:off x="1022491" y="372391"/>
            <a:ext cx="4168633" cy="41717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2875CA"/>
                </a:solidFill>
                <a:effectLst/>
                <a:uLnTx/>
                <a:uFillTx/>
                <a:latin typeface="Britannic Bold" pitchFamily="34" charset="0"/>
                <a:ea typeface="+mj-ea"/>
                <a:cs typeface="+mj-cs"/>
              </a:rPr>
              <a:t>Project Problem Definition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2875CA"/>
              </a:solidFill>
              <a:effectLst/>
              <a:uLnTx/>
              <a:uFillTx/>
              <a:latin typeface="Britannic Bold" pitchFamily="34" charset="0"/>
              <a:ea typeface="+mj-ea"/>
              <a:cs typeface="+mj-cs"/>
            </a:endParaRPr>
          </a:p>
        </p:txBody>
      </p:sp>
      <p:grpSp>
        <p:nvGrpSpPr>
          <p:cNvPr id="8" name="Group 7"/>
          <p:cNvGrpSpPr/>
          <p:nvPr/>
        </p:nvGrpSpPr>
        <p:grpSpPr>
          <a:xfrm rot="264182">
            <a:off x="86596" y="91470"/>
            <a:ext cx="777240" cy="777240"/>
            <a:chOff x="3728638" y="1092389"/>
            <a:chExt cx="914400" cy="914400"/>
          </a:xfrm>
        </p:grpSpPr>
        <p:grpSp>
          <p:nvGrpSpPr>
            <p:cNvPr id="9" name="Group 8"/>
            <p:cNvGrpSpPr/>
            <p:nvPr/>
          </p:nvGrpSpPr>
          <p:grpSpPr>
            <a:xfrm>
              <a:off x="3728638" y="1092389"/>
              <a:ext cx="914400" cy="914400"/>
              <a:chOff x="2378075" y="502896"/>
              <a:chExt cx="2066925" cy="2066925"/>
            </a:xfrm>
          </p:grpSpPr>
          <p:grpSp>
            <p:nvGrpSpPr>
              <p:cNvPr id="11" name="Group 28"/>
              <p:cNvGrpSpPr>
                <a:grpSpLocks/>
              </p:cNvGrpSpPr>
              <p:nvPr/>
            </p:nvGrpSpPr>
            <p:grpSpPr bwMode="auto">
              <a:xfrm>
                <a:off x="2378075" y="502896"/>
                <a:ext cx="2066925" cy="2066925"/>
                <a:chOff x="2333625" y="219075"/>
                <a:chExt cx="2066236" cy="2066236"/>
              </a:xfrm>
            </p:grpSpPr>
            <p:grpSp>
              <p:nvGrpSpPr>
                <p:cNvPr id="17" name="Group 154"/>
                <p:cNvGrpSpPr>
                  <a:grpSpLocks/>
                </p:cNvGrpSpPr>
                <p:nvPr/>
              </p:nvGrpSpPr>
              <p:grpSpPr bwMode="auto">
                <a:xfrm>
                  <a:off x="2333625" y="219075"/>
                  <a:ext cx="2066236" cy="2066236"/>
                  <a:chOff x="2844111" y="1118742"/>
                  <a:chExt cx="3508375" cy="3508375"/>
                </a:xfrm>
              </p:grpSpPr>
              <p:sp>
                <p:nvSpPr>
                  <p:cNvPr id="19" name="Freeform 6"/>
                  <p:cNvSpPr>
                    <a:spLocks noEditPoints="1"/>
                  </p:cNvSpPr>
                  <p:nvPr>
                    <p:custDataLst>
                      <p:tags r:id="rId1"/>
                    </p:custDataLst>
                  </p:nvPr>
                </p:nvSpPr>
                <p:spPr bwMode="gray">
                  <a:xfrm rot="3600000">
                    <a:off x="2844111" y="1118742"/>
                    <a:ext cx="3508375" cy="3508375"/>
                  </a:xfrm>
                  <a:custGeom>
                    <a:avLst/>
                    <a:gdLst/>
                    <a:ahLst/>
                    <a:cxnLst>
                      <a:cxn ang="0">
                        <a:pos x="292" y="0"/>
                      </a:cxn>
                      <a:cxn ang="0">
                        <a:pos x="0" y="293"/>
                      </a:cxn>
                      <a:cxn ang="0">
                        <a:pos x="292" y="585"/>
                      </a:cxn>
                      <a:cxn ang="0">
                        <a:pos x="585" y="293"/>
                      </a:cxn>
                      <a:cxn ang="0">
                        <a:pos x="292" y="0"/>
                      </a:cxn>
                      <a:cxn ang="0">
                        <a:pos x="292" y="539"/>
                      </a:cxn>
                      <a:cxn ang="0">
                        <a:pos x="46" y="293"/>
                      </a:cxn>
                      <a:cxn ang="0">
                        <a:pos x="292" y="46"/>
                      </a:cxn>
                      <a:cxn ang="0">
                        <a:pos x="539" y="293"/>
                      </a:cxn>
                      <a:cxn ang="0">
                        <a:pos x="292" y="539"/>
                      </a:cxn>
                    </a:cxnLst>
                    <a:rect l="0" t="0" r="r" b="b"/>
                    <a:pathLst>
                      <a:path w="585" h="585">
                        <a:moveTo>
                          <a:pt x="292" y="0"/>
                        </a:moveTo>
                        <a:cubicBezTo>
                          <a:pt x="131" y="0"/>
                          <a:pt x="0" y="131"/>
                          <a:pt x="0" y="293"/>
                        </a:cubicBezTo>
                        <a:cubicBezTo>
                          <a:pt x="0" y="454"/>
                          <a:pt x="131" y="585"/>
                          <a:pt x="292" y="585"/>
                        </a:cubicBezTo>
                        <a:cubicBezTo>
                          <a:pt x="454" y="585"/>
                          <a:pt x="585" y="454"/>
                          <a:pt x="585" y="293"/>
                        </a:cubicBezTo>
                        <a:cubicBezTo>
                          <a:pt x="585" y="131"/>
                          <a:pt x="454" y="0"/>
                          <a:pt x="292" y="0"/>
                        </a:cubicBezTo>
                        <a:close/>
                        <a:moveTo>
                          <a:pt x="292" y="539"/>
                        </a:moveTo>
                        <a:cubicBezTo>
                          <a:pt x="156" y="539"/>
                          <a:pt x="46" y="429"/>
                          <a:pt x="46" y="293"/>
                        </a:cubicBezTo>
                        <a:cubicBezTo>
                          <a:pt x="46" y="156"/>
                          <a:pt x="156" y="46"/>
                          <a:pt x="292" y="46"/>
                        </a:cubicBezTo>
                        <a:cubicBezTo>
                          <a:pt x="429" y="46"/>
                          <a:pt x="539" y="156"/>
                          <a:pt x="539" y="293"/>
                        </a:cubicBezTo>
                        <a:cubicBezTo>
                          <a:pt x="539" y="429"/>
                          <a:pt x="429" y="539"/>
                          <a:pt x="292" y="539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4"/>
                  </a:lnRef>
                  <a:fillRef idx="3">
                    <a:schemeClr val="accent4"/>
                  </a:fillRef>
                  <a:effectRef idx="3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sz="900"/>
                  </a:p>
                </p:txBody>
              </p:sp>
              <p:sp>
                <p:nvSpPr>
                  <p:cNvPr id="20" name="Ellipse 12"/>
                  <p:cNvSpPr>
                    <a:spLocks noChangeArrowheads="1"/>
                  </p:cNvSpPr>
                  <p:nvPr/>
                </p:nvSpPr>
                <p:spPr bwMode="auto">
                  <a:xfrm>
                    <a:off x="3948899" y="2247780"/>
                    <a:ext cx="1279938" cy="127993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353637"/>
                      </a:gs>
                      <a:gs pos="100000">
                        <a:srgbClr val="151616"/>
                      </a:gs>
                    </a:gsLst>
                    <a:path path="shape">
                      <a:fillToRect l="50000" t="50000" r="50000" b="50000"/>
                    </a:path>
                  </a:gradFill>
                  <a:ln w="9525">
                    <a:solidFill>
                      <a:srgbClr val="191919"/>
                    </a:solidFill>
                    <a:round/>
                    <a:headEnd/>
                    <a:tailEnd/>
                  </a:ln>
                  <a:effectLst>
                    <a:outerShdw dist="23000" dir="5400000" rotWithShape="0">
                      <a:srgbClr val="808080">
                        <a:alpha val="34999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latin typeface="Calibri" charset="0"/>
                    </a:endParaRPr>
                  </a:p>
                </p:txBody>
              </p:sp>
              <p:sp>
                <p:nvSpPr>
                  <p:cNvPr id="21" name="Ellipse 13"/>
                  <p:cNvSpPr/>
                  <p:nvPr/>
                </p:nvSpPr>
                <p:spPr bwMode="auto">
                  <a:xfrm>
                    <a:off x="4118660" y="2304368"/>
                    <a:ext cx="940416" cy="692512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tx2">
                          <a:lumMod val="40000"/>
                          <a:lumOff val="60000"/>
                          <a:alpha val="0"/>
                        </a:schemeClr>
                      </a:gs>
                      <a:gs pos="100000">
                        <a:schemeClr val="bg1">
                          <a:alpha val="77000"/>
                        </a:schemeClr>
                      </a:gs>
                    </a:gsLst>
                    <a:lin ang="162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ea typeface="ＭＳ Ｐゴシック" charset="-128"/>
                    </a:endParaRPr>
                  </a:p>
                </p:txBody>
              </p:sp>
              <p:sp>
                <p:nvSpPr>
                  <p:cNvPr id="22" name="Block Arc 21"/>
                  <p:cNvSpPr/>
                  <p:nvPr/>
                </p:nvSpPr>
                <p:spPr>
                  <a:xfrm rot="18729919">
                    <a:off x="3230788" y="1508111"/>
                    <a:ext cx="2726940" cy="2729633"/>
                  </a:xfrm>
                  <a:prstGeom prst="blockArc">
                    <a:avLst>
                      <a:gd name="adj1" fmla="val 574634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900"/>
                  </a:p>
                </p:txBody>
              </p:sp>
              <p:sp>
                <p:nvSpPr>
                  <p:cNvPr id="23" name="Block Arc 22"/>
                  <p:cNvSpPr/>
                  <p:nvPr/>
                </p:nvSpPr>
                <p:spPr>
                  <a:xfrm rot="1352524">
                    <a:off x="3229440" y="1509459"/>
                    <a:ext cx="2729633" cy="2726940"/>
                  </a:xfrm>
                  <a:prstGeom prst="blockArc">
                    <a:avLst>
                      <a:gd name="adj1" fmla="val 596470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24" name="Block Arc 23"/>
                  <p:cNvSpPr/>
                  <p:nvPr/>
                </p:nvSpPr>
                <p:spPr>
                  <a:xfrm rot="5869595">
                    <a:off x="3230788" y="1508111"/>
                    <a:ext cx="2726940" cy="2729633"/>
                  </a:xfrm>
                  <a:prstGeom prst="blockArc">
                    <a:avLst>
                      <a:gd name="adj1" fmla="val 5627424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25" name="Block Arc 24"/>
                  <p:cNvSpPr/>
                  <p:nvPr/>
                </p:nvSpPr>
                <p:spPr>
                  <a:xfrm rot="10291675">
                    <a:off x="3229440" y="1509459"/>
                    <a:ext cx="2729633" cy="2726940"/>
                  </a:xfrm>
                  <a:prstGeom prst="blockArc">
                    <a:avLst>
                      <a:gd name="adj1" fmla="val 5803831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26" name="Block Arc 25"/>
                  <p:cNvSpPr/>
                  <p:nvPr/>
                </p:nvSpPr>
                <p:spPr>
                  <a:xfrm rot="14301489">
                    <a:off x="3230788" y="1508111"/>
                    <a:ext cx="2726940" cy="2729633"/>
                  </a:xfrm>
                  <a:prstGeom prst="blockArc">
                    <a:avLst>
                      <a:gd name="adj1" fmla="val 6140645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</p:grpSp>
            <p:sp>
              <p:nvSpPr>
                <p:cNvPr id="18" name="Ellipse 15"/>
                <p:cNvSpPr/>
                <p:nvPr/>
              </p:nvSpPr>
              <p:spPr bwMode="auto">
                <a:xfrm>
                  <a:off x="2763695" y="465055"/>
                  <a:ext cx="1237837" cy="91568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900" dirty="0"/>
                </a:p>
              </p:txBody>
            </p:sp>
          </p:grpSp>
          <p:sp>
            <p:nvSpPr>
              <p:cNvPr id="12" name="TextBox 29"/>
              <p:cNvSpPr txBox="1">
                <a:spLocks noChangeArrowheads="1"/>
              </p:cNvSpPr>
              <p:nvPr/>
            </p:nvSpPr>
            <p:spPr bwMode="auto">
              <a:xfrm>
                <a:off x="2754110" y="771753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D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13" name="TextBox 29"/>
              <p:cNvSpPr txBox="1">
                <a:spLocks noChangeArrowheads="1"/>
              </p:cNvSpPr>
              <p:nvPr/>
            </p:nvSpPr>
            <p:spPr bwMode="auto">
              <a:xfrm>
                <a:off x="2584640" y="1514847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M</a:t>
                </a:r>
              </a:p>
            </p:txBody>
          </p:sp>
          <p:sp>
            <p:nvSpPr>
              <p:cNvPr id="14" name="TextBox 29"/>
              <p:cNvSpPr txBox="1">
                <a:spLocks noChangeArrowheads="1"/>
              </p:cNvSpPr>
              <p:nvPr/>
            </p:nvSpPr>
            <p:spPr bwMode="auto">
              <a:xfrm>
                <a:off x="3253164" y="1880209"/>
                <a:ext cx="289718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A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15" name="TextBox 29"/>
              <p:cNvSpPr txBox="1">
                <a:spLocks noChangeArrowheads="1"/>
              </p:cNvSpPr>
              <p:nvPr/>
            </p:nvSpPr>
            <p:spPr bwMode="auto">
              <a:xfrm>
                <a:off x="3844923" y="13567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I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16" name="TextBox 29"/>
              <p:cNvSpPr txBox="1">
                <a:spLocks noChangeArrowheads="1"/>
              </p:cNvSpPr>
              <p:nvPr/>
            </p:nvSpPr>
            <p:spPr bwMode="auto">
              <a:xfrm>
                <a:off x="3487620" y="7158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C</a:t>
                </a:r>
              </a:p>
            </p:txBody>
          </p:sp>
        </p:grpSp>
        <p:sp>
          <p:nvSpPr>
            <p:cNvPr id="10" name="TextBox 29"/>
            <p:cNvSpPr txBox="1">
              <a:spLocks noChangeArrowheads="1"/>
            </p:cNvSpPr>
            <p:nvPr/>
          </p:nvSpPr>
          <p:spPr bwMode="auto">
            <a:xfrm rot="21335818">
              <a:off x="4043204" y="1353960"/>
              <a:ext cx="128171" cy="398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da-DK" sz="1600" b="1" dirty="0">
                  <a:solidFill>
                    <a:schemeClr val="bg1"/>
                  </a:solidFill>
                </a:rPr>
                <a:t>D</a:t>
              </a:r>
            </a:p>
          </p:txBody>
        </p:sp>
      </p:grpSp>
      <p:grpSp>
        <p:nvGrpSpPr>
          <p:cNvPr id="29" name="Group 28"/>
          <p:cNvGrpSpPr/>
          <p:nvPr/>
        </p:nvGrpSpPr>
        <p:grpSpPr>
          <a:xfrm>
            <a:off x="0" y="1033153"/>
            <a:ext cx="9144000" cy="462272"/>
            <a:chOff x="0" y="0"/>
            <a:chExt cx="9144000" cy="556968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30" name="Rectangle 29"/>
            <p:cNvSpPr/>
            <p:nvPr/>
          </p:nvSpPr>
          <p:spPr>
            <a:xfrm>
              <a:off x="0" y="0"/>
              <a:ext cx="9144000" cy="556968"/>
            </a:xfrm>
            <a:prstGeom prst="rect">
              <a:avLst/>
            </a:prstGeom>
            <a:sp3d prstMaterial="plastic">
              <a:bevelT w="127000" h="25400" prst="relaxedInset"/>
              <a:bevelB w="88900" h="121750" prst="angle"/>
            </a:sp3d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shade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shade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1" name="Rectangle 30"/>
            <p:cNvSpPr/>
            <p:nvPr/>
          </p:nvSpPr>
          <p:spPr>
            <a:xfrm>
              <a:off x="0" y="0"/>
              <a:ext cx="9144000" cy="55696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Aft>
                  <a:spcPct val="35000"/>
                </a:spcAft>
              </a:pPr>
              <a:r>
                <a:rPr lang="en-US" kern="1200" dirty="0" smtClean="0"/>
                <a:t>Philips Sustainability Vision and Water Footprint</a:t>
              </a:r>
              <a:endParaRPr lang="en-US" kern="1200" dirty="0"/>
            </a:p>
          </p:txBody>
        </p:sp>
      </p:grpSp>
      <p:graphicFrame>
        <p:nvGraphicFramePr>
          <p:cNvPr id="33" name="Chart 32"/>
          <p:cNvGraphicFramePr/>
          <p:nvPr>
            <p:extLst>
              <p:ext uri="{D42A27DB-BD31-4B8C-83A1-F6EECF244321}">
                <p14:modId xmlns:p14="http://schemas.microsoft.com/office/powerpoint/2010/main" xmlns="" val="2935041184"/>
              </p:ext>
            </p:extLst>
          </p:nvPr>
        </p:nvGraphicFramePr>
        <p:xfrm>
          <a:off x="5375784" y="3411138"/>
          <a:ext cx="3768217" cy="26476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34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541144"/>
            <a:ext cx="4267200" cy="17532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267200" y="1524000"/>
            <a:ext cx="4876801" cy="175325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7" name="TextBox 36"/>
          <p:cNvSpPr txBox="1"/>
          <p:nvPr/>
        </p:nvSpPr>
        <p:spPr>
          <a:xfrm>
            <a:off x="0" y="5339759"/>
            <a:ext cx="6309741" cy="95410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/>
              <a:t>Lighting is 85% of total water usage of Philips Group.</a:t>
            </a:r>
            <a:endParaRPr lang="en-US" sz="1400" b="1" dirty="0"/>
          </a:p>
          <a:p>
            <a:r>
              <a:rPr lang="en-US" sz="1400" b="1" dirty="0" smtClean="0">
                <a:solidFill>
                  <a:schemeClr val="tx1"/>
                </a:solidFill>
              </a:rPr>
              <a:t>Lumileds </a:t>
            </a:r>
            <a:r>
              <a:rPr lang="en-US" sz="1400" b="1" dirty="0">
                <a:solidFill>
                  <a:schemeClr val="tx1"/>
                </a:solidFill>
              </a:rPr>
              <a:t>represents 37% of total water consumption of Lighting </a:t>
            </a:r>
            <a:r>
              <a:rPr lang="en-US" sz="1400" b="1" dirty="0" smtClean="0">
                <a:solidFill>
                  <a:schemeClr val="tx1"/>
                </a:solidFill>
              </a:rPr>
              <a:t>sector.</a:t>
            </a:r>
          </a:p>
          <a:p>
            <a:r>
              <a:rPr lang="en-US" sz="1400" b="1" dirty="0" smtClean="0">
                <a:solidFill>
                  <a:schemeClr val="tx1"/>
                </a:solidFill>
              </a:rPr>
              <a:t>Singapore is the major consumer and located in a water </a:t>
            </a:r>
            <a:r>
              <a:rPr lang="en-US" sz="1400" b="1" dirty="0">
                <a:solidFill>
                  <a:schemeClr val="tx1"/>
                </a:solidFill>
              </a:rPr>
              <a:t>s</a:t>
            </a:r>
            <a:r>
              <a:rPr lang="en-US" sz="1400" b="1" dirty="0" smtClean="0">
                <a:solidFill>
                  <a:schemeClr val="tx1"/>
                </a:solidFill>
              </a:rPr>
              <a:t>carcity </a:t>
            </a:r>
            <a:r>
              <a:rPr lang="en-US" sz="1400" b="1" dirty="0">
                <a:solidFill>
                  <a:schemeClr val="tx1"/>
                </a:solidFill>
              </a:rPr>
              <a:t>r</a:t>
            </a:r>
            <a:r>
              <a:rPr lang="en-US" sz="1400" b="1" dirty="0" smtClean="0">
                <a:solidFill>
                  <a:schemeClr val="tx1"/>
                </a:solidFill>
              </a:rPr>
              <a:t>egion.</a:t>
            </a:r>
            <a:endParaRPr lang="en-US" sz="1400" b="1" dirty="0">
              <a:solidFill>
                <a:schemeClr val="tx1"/>
              </a:solidFill>
            </a:endParaRPr>
          </a:p>
          <a:p>
            <a:pPr algn="ctr"/>
            <a:endParaRPr lang="en-US" sz="1400" dirty="0"/>
          </a:p>
        </p:txBody>
      </p:sp>
      <p:grpSp>
        <p:nvGrpSpPr>
          <p:cNvPr id="3" name="Group 2"/>
          <p:cNvGrpSpPr/>
          <p:nvPr/>
        </p:nvGrpSpPr>
        <p:grpSpPr>
          <a:xfrm>
            <a:off x="67912" y="3431442"/>
            <a:ext cx="5123213" cy="1896290"/>
            <a:chOff x="67912" y="3431442"/>
            <a:chExt cx="5123213" cy="1896290"/>
          </a:xfrm>
        </p:grpSpPr>
        <p:pic>
          <p:nvPicPr>
            <p:cNvPr id="36" name="Picture 4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912" y="3431442"/>
              <a:ext cx="5123213" cy="18962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2" name="Rectangle 1"/>
            <p:cNvSpPr/>
            <p:nvPr/>
          </p:nvSpPr>
          <p:spPr bwMode="auto">
            <a:xfrm>
              <a:off x="3978234" y="3431442"/>
              <a:ext cx="1212891" cy="28553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000" b="0" i="0" u="none" strike="noStrike" cap="none" normalizeH="0" baseline="0" smtClean="0">
                <a:ln>
                  <a:noFill/>
                </a:ln>
                <a:solidFill>
                  <a:srgbClr val="000000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437699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3" grpId="0">
        <p:bldAsOne/>
      </p:bldGraphic>
      <p:bldP spid="37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5842660"/>
            <a:ext cx="9144000" cy="1073063"/>
          </a:xfrm>
          <a:prstGeom prst="rect">
            <a:avLst/>
          </a:prstGeom>
        </p:spPr>
      </p:pic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91470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Title 1"/>
          <p:cNvSpPr txBox="1">
            <a:spLocks/>
          </p:cNvSpPr>
          <p:nvPr/>
        </p:nvSpPr>
        <p:spPr>
          <a:xfrm>
            <a:off x="1022492" y="372391"/>
            <a:ext cx="3999884" cy="41717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2875CA"/>
                </a:solidFill>
                <a:effectLst/>
                <a:uLnTx/>
                <a:uFillTx/>
                <a:latin typeface="Britannic Bold" pitchFamily="34" charset="0"/>
                <a:ea typeface="+mj-ea"/>
                <a:cs typeface="+mj-cs"/>
              </a:rPr>
              <a:t>Project Problem Definition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2875CA"/>
              </a:solidFill>
              <a:effectLst/>
              <a:uLnTx/>
              <a:uFillTx/>
              <a:latin typeface="Britannic Bold" pitchFamily="34" charset="0"/>
              <a:ea typeface="+mj-ea"/>
              <a:cs typeface="+mj-cs"/>
            </a:endParaRPr>
          </a:p>
        </p:txBody>
      </p:sp>
      <p:grpSp>
        <p:nvGrpSpPr>
          <p:cNvPr id="21" name="Group 20"/>
          <p:cNvGrpSpPr/>
          <p:nvPr/>
        </p:nvGrpSpPr>
        <p:grpSpPr>
          <a:xfrm rot="264182">
            <a:off x="86596" y="91470"/>
            <a:ext cx="777240" cy="777240"/>
            <a:chOff x="3728638" y="1092389"/>
            <a:chExt cx="914400" cy="914400"/>
          </a:xfrm>
        </p:grpSpPr>
        <p:grpSp>
          <p:nvGrpSpPr>
            <p:cNvPr id="22" name="Group 21"/>
            <p:cNvGrpSpPr/>
            <p:nvPr/>
          </p:nvGrpSpPr>
          <p:grpSpPr>
            <a:xfrm>
              <a:off x="3728638" y="1092389"/>
              <a:ext cx="914400" cy="914400"/>
              <a:chOff x="2378075" y="502896"/>
              <a:chExt cx="2066925" cy="2066925"/>
            </a:xfrm>
          </p:grpSpPr>
          <p:grpSp>
            <p:nvGrpSpPr>
              <p:cNvPr id="28" name="Group 28"/>
              <p:cNvGrpSpPr>
                <a:grpSpLocks/>
              </p:cNvGrpSpPr>
              <p:nvPr/>
            </p:nvGrpSpPr>
            <p:grpSpPr bwMode="auto">
              <a:xfrm>
                <a:off x="2378075" y="502896"/>
                <a:ext cx="2066925" cy="2066925"/>
                <a:chOff x="2333625" y="219075"/>
                <a:chExt cx="2066236" cy="2066236"/>
              </a:xfrm>
            </p:grpSpPr>
            <p:grpSp>
              <p:nvGrpSpPr>
                <p:cNvPr id="35" name="Group 154"/>
                <p:cNvGrpSpPr>
                  <a:grpSpLocks/>
                </p:cNvGrpSpPr>
                <p:nvPr/>
              </p:nvGrpSpPr>
              <p:grpSpPr bwMode="auto">
                <a:xfrm>
                  <a:off x="2333625" y="219075"/>
                  <a:ext cx="2066236" cy="2066236"/>
                  <a:chOff x="2844111" y="1118742"/>
                  <a:chExt cx="3508375" cy="3508375"/>
                </a:xfrm>
              </p:grpSpPr>
              <p:sp>
                <p:nvSpPr>
                  <p:cNvPr id="37" name="Freeform 6"/>
                  <p:cNvSpPr>
                    <a:spLocks noEditPoints="1"/>
                  </p:cNvSpPr>
                  <p:nvPr>
                    <p:custDataLst>
                      <p:tags r:id="rId2"/>
                    </p:custDataLst>
                  </p:nvPr>
                </p:nvSpPr>
                <p:spPr bwMode="gray">
                  <a:xfrm rot="3600000">
                    <a:off x="2844111" y="1118742"/>
                    <a:ext cx="3508375" cy="3508375"/>
                  </a:xfrm>
                  <a:custGeom>
                    <a:avLst/>
                    <a:gdLst/>
                    <a:ahLst/>
                    <a:cxnLst>
                      <a:cxn ang="0">
                        <a:pos x="292" y="0"/>
                      </a:cxn>
                      <a:cxn ang="0">
                        <a:pos x="0" y="293"/>
                      </a:cxn>
                      <a:cxn ang="0">
                        <a:pos x="292" y="585"/>
                      </a:cxn>
                      <a:cxn ang="0">
                        <a:pos x="585" y="293"/>
                      </a:cxn>
                      <a:cxn ang="0">
                        <a:pos x="292" y="0"/>
                      </a:cxn>
                      <a:cxn ang="0">
                        <a:pos x="292" y="539"/>
                      </a:cxn>
                      <a:cxn ang="0">
                        <a:pos x="46" y="293"/>
                      </a:cxn>
                      <a:cxn ang="0">
                        <a:pos x="292" y="46"/>
                      </a:cxn>
                      <a:cxn ang="0">
                        <a:pos x="539" y="293"/>
                      </a:cxn>
                      <a:cxn ang="0">
                        <a:pos x="292" y="539"/>
                      </a:cxn>
                    </a:cxnLst>
                    <a:rect l="0" t="0" r="r" b="b"/>
                    <a:pathLst>
                      <a:path w="585" h="585">
                        <a:moveTo>
                          <a:pt x="292" y="0"/>
                        </a:moveTo>
                        <a:cubicBezTo>
                          <a:pt x="131" y="0"/>
                          <a:pt x="0" y="131"/>
                          <a:pt x="0" y="293"/>
                        </a:cubicBezTo>
                        <a:cubicBezTo>
                          <a:pt x="0" y="454"/>
                          <a:pt x="131" y="585"/>
                          <a:pt x="292" y="585"/>
                        </a:cubicBezTo>
                        <a:cubicBezTo>
                          <a:pt x="454" y="585"/>
                          <a:pt x="585" y="454"/>
                          <a:pt x="585" y="293"/>
                        </a:cubicBezTo>
                        <a:cubicBezTo>
                          <a:pt x="585" y="131"/>
                          <a:pt x="454" y="0"/>
                          <a:pt x="292" y="0"/>
                        </a:cubicBezTo>
                        <a:close/>
                        <a:moveTo>
                          <a:pt x="292" y="539"/>
                        </a:moveTo>
                        <a:cubicBezTo>
                          <a:pt x="156" y="539"/>
                          <a:pt x="46" y="429"/>
                          <a:pt x="46" y="293"/>
                        </a:cubicBezTo>
                        <a:cubicBezTo>
                          <a:pt x="46" y="156"/>
                          <a:pt x="156" y="46"/>
                          <a:pt x="292" y="46"/>
                        </a:cubicBezTo>
                        <a:cubicBezTo>
                          <a:pt x="429" y="46"/>
                          <a:pt x="539" y="156"/>
                          <a:pt x="539" y="293"/>
                        </a:cubicBezTo>
                        <a:cubicBezTo>
                          <a:pt x="539" y="429"/>
                          <a:pt x="429" y="539"/>
                          <a:pt x="292" y="539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4"/>
                  </a:lnRef>
                  <a:fillRef idx="3">
                    <a:schemeClr val="accent4"/>
                  </a:fillRef>
                  <a:effectRef idx="3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sz="900"/>
                  </a:p>
                </p:txBody>
              </p:sp>
              <p:sp>
                <p:nvSpPr>
                  <p:cNvPr id="38" name="Ellipse 12"/>
                  <p:cNvSpPr>
                    <a:spLocks noChangeArrowheads="1"/>
                  </p:cNvSpPr>
                  <p:nvPr/>
                </p:nvSpPr>
                <p:spPr bwMode="auto">
                  <a:xfrm>
                    <a:off x="3948899" y="2247780"/>
                    <a:ext cx="1279938" cy="127993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353637"/>
                      </a:gs>
                      <a:gs pos="100000">
                        <a:srgbClr val="151616"/>
                      </a:gs>
                    </a:gsLst>
                    <a:path path="shape">
                      <a:fillToRect l="50000" t="50000" r="50000" b="50000"/>
                    </a:path>
                  </a:gradFill>
                  <a:ln w="9525">
                    <a:solidFill>
                      <a:srgbClr val="191919"/>
                    </a:solidFill>
                    <a:round/>
                    <a:headEnd/>
                    <a:tailEnd/>
                  </a:ln>
                  <a:effectLst>
                    <a:outerShdw dist="23000" dir="5400000" rotWithShape="0">
                      <a:srgbClr val="808080">
                        <a:alpha val="34999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latin typeface="Calibri" charset="0"/>
                    </a:endParaRPr>
                  </a:p>
                </p:txBody>
              </p:sp>
              <p:sp>
                <p:nvSpPr>
                  <p:cNvPr id="39" name="Ellipse 13"/>
                  <p:cNvSpPr/>
                  <p:nvPr/>
                </p:nvSpPr>
                <p:spPr bwMode="auto">
                  <a:xfrm>
                    <a:off x="4118660" y="2304368"/>
                    <a:ext cx="940416" cy="692512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tx2">
                          <a:lumMod val="40000"/>
                          <a:lumOff val="60000"/>
                          <a:alpha val="0"/>
                        </a:schemeClr>
                      </a:gs>
                      <a:gs pos="100000">
                        <a:schemeClr val="bg1">
                          <a:alpha val="77000"/>
                        </a:schemeClr>
                      </a:gs>
                    </a:gsLst>
                    <a:lin ang="162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ea typeface="ＭＳ Ｐゴシック" charset="-128"/>
                    </a:endParaRPr>
                  </a:p>
                </p:txBody>
              </p:sp>
              <p:sp>
                <p:nvSpPr>
                  <p:cNvPr id="40" name="Block Arc 39"/>
                  <p:cNvSpPr/>
                  <p:nvPr/>
                </p:nvSpPr>
                <p:spPr>
                  <a:xfrm rot="18729919">
                    <a:off x="3230788" y="1508111"/>
                    <a:ext cx="2726940" cy="2729633"/>
                  </a:xfrm>
                  <a:prstGeom prst="blockArc">
                    <a:avLst>
                      <a:gd name="adj1" fmla="val 574634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900"/>
                  </a:p>
                </p:txBody>
              </p:sp>
              <p:sp>
                <p:nvSpPr>
                  <p:cNvPr id="41" name="Block Arc 40"/>
                  <p:cNvSpPr/>
                  <p:nvPr/>
                </p:nvSpPr>
                <p:spPr>
                  <a:xfrm rot="1352524">
                    <a:off x="3229440" y="1509459"/>
                    <a:ext cx="2729633" cy="2726940"/>
                  </a:xfrm>
                  <a:prstGeom prst="blockArc">
                    <a:avLst>
                      <a:gd name="adj1" fmla="val 596470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2" name="Block Arc 41"/>
                  <p:cNvSpPr/>
                  <p:nvPr/>
                </p:nvSpPr>
                <p:spPr>
                  <a:xfrm rot="5869595">
                    <a:off x="3230788" y="1508111"/>
                    <a:ext cx="2726940" cy="2729633"/>
                  </a:xfrm>
                  <a:prstGeom prst="blockArc">
                    <a:avLst>
                      <a:gd name="adj1" fmla="val 5627424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3" name="Block Arc 42"/>
                  <p:cNvSpPr/>
                  <p:nvPr/>
                </p:nvSpPr>
                <p:spPr>
                  <a:xfrm rot="10291675">
                    <a:off x="3229440" y="1509459"/>
                    <a:ext cx="2729633" cy="2726940"/>
                  </a:xfrm>
                  <a:prstGeom prst="blockArc">
                    <a:avLst>
                      <a:gd name="adj1" fmla="val 5803831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4" name="Block Arc 43"/>
                  <p:cNvSpPr/>
                  <p:nvPr/>
                </p:nvSpPr>
                <p:spPr>
                  <a:xfrm rot="14301489">
                    <a:off x="3230788" y="1508111"/>
                    <a:ext cx="2726940" cy="2729633"/>
                  </a:xfrm>
                  <a:prstGeom prst="blockArc">
                    <a:avLst>
                      <a:gd name="adj1" fmla="val 6140645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</p:grpSp>
            <p:sp>
              <p:nvSpPr>
                <p:cNvPr id="36" name="Ellipse 15"/>
                <p:cNvSpPr/>
                <p:nvPr/>
              </p:nvSpPr>
              <p:spPr bwMode="auto">
                <a:xfrm>
                  <a:off x="2763695" y="465055"/>
                  <a:ext cx="1237837" cy="91568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900" dirty="0"/>
                </a:p>
              </p:txBody>
            </p:sp>
          </p:grpSp>
          <p:sp>
            <p:nvSpPr>
              <p:cNvPr id="30" name="TextBox 29"/>
              <p:cNvSpPr txBox="1">
                <a:spLocks noChangeArrowheads="1"/>
              </p:cNvSpPr>
              <p:nvPr/>
            </p:nvSpPr>
            <p:spPr bwMode="auto">
              <a:xfrm>
                <a:off x="2754110" y="771753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D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31" name="TextBox 29"/>
              <p:cNvSpPr txBox="1">
                <a:spLocks noChangeArrowheads="1"/>
              </p:cNvSpPr>
              <p:nvPr/>
            </p:nvSpPr>
            <p:spPr bwMode="auto">
              <a:xfrm>
                <a:off x="2584640" y="1514847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M</a:t>
                </a:r>
              </a:p>
            </p:txBody>
          </p:sp>
          <p:sp>
            <p:nvSpPr>
              <p:cNvPr id="32" name="TextBox 29"/>
              <p:cNvSpPr txBox="1">
                <a:spLocks noChangeArrowheads="1"/>
              </p:cNvSpPr>
              <p:nvPr/>
            </p:nvSpPr>
            <p:spPr bwMode="auto">
              <a:xfrm>
                <a:off x="3253164" y="1880209"/>
                <a:ext cx="289718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A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33" name="TextBox 29"/>
              <p:cNvSpPr txBox="1">
                <a:spLocks noChangeArrowheads="1"/>
              </p:cNvSpPr>
              <p:nvPr/>
            </p:nvSpPr>
            <p:spPr bwMode="auto">
              <a:xfrm>
                <a:off x="3844923" y="13567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I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34" name="TextBox 29"/>
              <p:cNvSpPr txBox="1">
                <a:spLocks noChangeArrowheads="1"/>
              </p:cNvSpPr>
              <p:nvPr/>
            </p:nvSpPr>
            <p:spPr bwMode="auto">
              <a:xfrm>
                <a:off x="3487620" y="7158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C</a:t>
                </a:r>
              </a:p>
            </p:txBody>
          </p:sp>
        </p:grpSp>
        <p:sp>
          <p:nvSpPr>
            <p:cNvPr id="24" name="TextBox 29"/>
            <p:cNvSpPr txBox="1">
              <a:spLocks noChangeArrowheads="1"/>
            </p:cNvSpPr>
            <p:nvPr/>
          </p:nvSpPr>
          <p:spPr bwMode="auto">
            <a:xfrm rot="21335818">
              <a:off x="4043204" y="1353960"/>
              <a:ext cx="128171" cy="398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da-DK" sz="1600" b="1" dirty="0">
                  <a:solidFill>
                    <a:schemeClr val="bg1"/>
                  </a:solidFill>
                </a:rPr>
                <a:t>D</a:t>
              </a:r>
            </a:p>
          </p:txBody>
        </p:sp>
      </p:grpSp>
      <p:sp>
        <p:nvSpPr>
          <p:cNvPr id="45" name="TextBox 44"/>
          <p:cNvSpPr txBox="1"/>
          <p:nvPr/>
        </p:nvSpPr>
        <p:spPr>
          <a:xfrm>
            <a:off x="4996724" y="5777053"/>
            <a:ext cx="4003196" cy="523220"/>
          </a:xfrm>
          <a:prstGeom prst="rect">
            <a:avLst/>
          </a:prstGeom>
          <a:noFill/>
          <a:ln>
            <a:noFill/>
          </a:ln>
          <a:effectLst>
            <a:outerShdw blurRad="190500" dist="228600" dir="2700000" algn="ctr">
              <a:srgbClr val="000000">
                <a:alpha val="30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txBody>
          <a:bodyPr wrap="square" rtlCol="0">
            <a:spAutoFit/>
          </a:bodyPr>
          <a:lstStyle/>
          <a:p>
            <a:pPr algn="ctr"/>
            <a:r>
              <a:rPr lang="en-US" sz="1400" b="1" dirty="0" smtClean="0"/>
              <a:t>Increased Newater tariff from PUB contributes to higher operational cost too</a:t>
            </a:r>
            <a:endParaRPr lang="en-US" sz="1400" b="1" dirty="0"/>
          </a:p>
        </p:txBody>
      </p:sp>
      <p:graphicFrame>
        <p:nvGraphicFramePr>
          <p:cNvPr id="46" name="Chart 45"/>
          <p:cNvGraphicFramePr/>
          <p:nvPr>
            <p:extLst>
              <p:ext uri="{D42A27DB-BD31-4B8C-83A1-F6EECF244321}">
                <p14:modId xmlns:p14="http://schemas.microsoft.com/office/powerpoint/2010/main" xmlns="" val="3598985856"/>
              </p:ext>
            </p:extLst>
          </p:nvPr>
        </p:nvGraphicFramePr>
        <p:xfrm>
          <a:off x="114841" y="3003963"/>
          <a:ext cx="4106285" cy="25052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7" name="Table 46"/>
          <p:cNvGraphicFramePr>
            <a:graphicFrameLocks noGrp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xmlns="" val="4082133130"/>
              </p:ext>
            </p:extLst>
          </p:nvPr>
        </p:nvGraphicFramePr>
        <p:xfrm>
          <a:off x="-29602" y="998468"/>
          <a:ext cx="9173603" cy="1547502"/>
        </p:xfrm>
        <a:graphic>
          <a:graphicData uri="http://schemas.openxmlformats.org/drawingml/2006/table">
            <a:tbl>
              <a:tblPr/>
              <a:tblGrid>
                <a:gridCol w="1502883"/>
                <a:gridCol w="1824929"/>
                <a:gridCol w="2111192"/>
                <a:gridCol w="3734599"/>
              </a:tblGrid>
              <a:tr h="423889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28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Water Efficiency</a:t>
                      </a:r>
                      <a:r>
                        <a:rPr lang="en-US" sz="2800" b="1" i="0" u="none" strike="noStrike" baseline="0" dirty="0" smtClean="0">
                          <a:solidFill>
                            <a:schemeClr val="bg1"/>
                          </a:solidFill>
                          <a:latin typeface="Calibri"/>
                        </a:rPr>
                        <a:t> Index </a:t>
                      </a:r>
                      <a:endParaRPr lang="en-US" sz="28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70"/>
                        </a:spcAft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</a:pPr>
                      <a:endParaRPr lang="en-US" sz="1600" dirty="0">
                        <a:solidFill>
                          <a:schemeClr val="bg1"/>
                        </a:solidFill>
                        <a:latin typeface="Arial"/>
                        <a:ea typeface="宋体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270"/>
                        </a:spcAft>
                        <a:tabLst>
                          <a:tab pos="180340" algn="l"/>
                          <a:tab pos="431800" algn="l"/>
                          <a:tab pos="1080135" algn="l"/>
                          <a:tab pos="3060700" algn="l"/>
                          <a:tab pos="3960495" algn="l"/>
                          <a:tab pos="4860925" algn="l"/>
                          <a:tab pos="0" algn="l"/>
                          <a:tab pos="182880" algn="l"/>
                          <a:tab pos="365760" algn="l"/>
                          <a:tab pos="431800" algn="l"/>
                          <a:tab pos="548640" algn="l"/>
                          <a:tab pos="1080135" algn="l"/>
                          <a:tab pos="1097280" algn="l"/>
                          <a:tab pos="3060700" algn="l"/>
                          <a:tab pos="3960495" algn="l"/>
                          <a:tab pos="4860925" algn="l"/>
                        </a:tabLst>
                      </a:pPr>
                      <a:endParaRPr lang="en-US" sz="1600" dirty="0">
                        <a:solidFill>
                          <a:schemeClr val="bg1"/>
                        </a:solidFill>
                        <a:latin typeface="Arial"/>
                        <a:ea typeface="宋体"/>
                        <a:cs typeface="Times New Roman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200" b="1" i="0" u="none" strike="noStrike" dirty="0">
                        <a:solidFill>
                          <a:srgbClr val="000000"/>
                        </a:solidFill>
                        <a:latin typeface="Calibri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280229"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Year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BAI (000,000)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Water use  </a:t>
                      </a:r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000m</a:t>
                      </a:r>
                      <a:r>
                        <a:rPr lang="en-US" sz="1200" b="0" i="0" u="none" strike="noStrike" baseline="30000" dirty="0" smtClean="0">
                          <a:solidFill>
                            <a:schemeClr val="bg1"/>
                          </a:solidFill>
                          <a:latin typeface="Calibri"/>
                        </a:rPr>
                        <a:t>3</a:t>
                      </a:r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/year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Water </a:t>
                      </a:r>
                      <a:r>
                        <a:rPr lang="en-US" sz="14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Efficiency  Index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283117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201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801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60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0.76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283116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20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1,076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711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0.66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  <a:tr h="272500"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>
                          <a:solidFill>
                            <a:schemeClr val="bg1"/>
                          </a:solidFill>
                          <a:latin typeface="Calibri"/>
                        </a:rPr>
                        <a:t>201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1,277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200" b="0" i="0" u="none" strike="noStrike" dirty="0" smtClean="0">
                          <a:solidFill>
                            <a:schemeClr val="bg1"/>
                          </a:solidFill>
                          <a:latin typeface="Calibri"/>
                        </a:rPr>
                        <a:t>880</a:t>
                      </a:r>
                      <a:endParaRPr lang="en-US" sz="1200" b="0" i="0" u="none" strike="noStrike" dirty="0">
                        <a:solidFill>
                          <a:schemeClr val="bg1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800" b="1" i="0" u="none" strike="noStrike" dirty="0" smtClean="0">
                          <a:solidFill>
                            <a:srgbClr val="FF0000"/>
                          </a:solidFill>
                          <a:latin typeface="Calibri"/>
                        </a:rPr>
                        <a:t>0.69</a:t>
                      </a:r>
                      <a:endParaRPr lang="en-US" sz="1800" b="1" i="0" u="none" strike="noStrike" dirty="0">
                        <a:solidFill>
                          <a:srgbClr val="FF0000"/>
                        </a:solidFill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cell3D prstMaterial="dkEdge">
                      <a:bevel/>
                      <a:lightRig rig="flood" dir="t"/>
                    </a:cell3D>
                    <a:solidFill>
                      <a:schemeClr val="bg2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176867" y="2625911"/>
            <a:ext cx="338550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/>
              <a:t>Water Efficiency Index</a:t>
            </a:r>
            <a:endParaRPr lang="en-US" sz="1400" b="1" dirty="0"/>
          </a:p>
        </p:txBody>
      </p:sp>
      <p:graphicFrame>
        <p:nvGraphicFramePr>
          <p:cNvPr id="48" name="Chart 4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97531759"/>
              </p:ext>
            </p:extLst>
          </p:nvPr>
        </p:nvGraphicFramePr>
        <p:xfrm>
          <a:off x="4631359" y="2625911"/>
          <a:ext cx="4733925" cy="311511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0" name="TextBox 49"/>
          <p:cNvSpPr txBox="1"/>
          <p:nvPr/>
        </p:nvSpPr>
        <p:spPr>
          <a:xfrm>
            <a:off x="5594934" y="3527534"/>
            <a:ext cx="1149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smtClean="0"/>
              <a:t>+17%</a:t>
            </a:r>
            <a:endParaRPr lang="en-US" sz="1800" b="1" dirty="0"/>
          </a:p>
        </p:txBody>
      </p:sp>
      <p:sp>
        <p:nvSpPr>
          <p:cNvPr id="53" name="Shape 52"/>
          <p:cNvSpPr/>
          <p:nvPr/>
        </p:nvSpPr>
        <p:spPr>
          <a:xfrm>
            <a:off x="5774859" y="3415841"/>
            <a:ext cx="1344401" cy="1314767"/>
          </a:xfrm>
          <a:prstGeom prst="swooshArrow">
            <a:avLst>
              <a:gd name="adj1" fmla="val 15951"/>
              <a:gd name="adj2" fmla="val 25000"/>
            </a:avLst>
          </a:prstGeom>
          <a:solidFill>
            <a:srgbClr val="FF0000"/>
          </a:solidFill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0">
            <a:schemeClr val="dk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55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55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54" name="TextBox 53"/>
          <p:cNvSpPr txBox="1"/>
          <p:nvPr/>
        </p:nvSpPr>
        <p:spPr>
          <a:xfrm>
            <a:off x="7096845" y="3185016"/>
            <a:ext cx="114942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1" dirty="0" smtClean="0"/>
              <a:t>+22%</a:t>
            </a:r>
            <a:endParaRPr lang="en-US" sz="1800" b="1" dirty="0"/>
          </a:p>
        </p:txBody>
      </p:sp>
      <p:sp>
        <p:nvSpPr>
          <p:cNvPr id="55" name="Shape 54"/>
          <p:cNvSpPr/>
          <p:nvPr/>
        </p:nvSpPr>
        <p:spPr>
          <a:xfrm>
            <a:off x="7263475" y="3054817"/>
            <a:ext cx="1344401" cy="1314767"/>
          </a:xfrm>
          <a:prstGeom prst="swooshArrow">
            <a:avLst>
              <a:gd name="adj1" fmla="val 15951"/>
              <a:gd name="adj2" fmla="val 25000"/>
            </a:avLst>
          </a:prstGeom>
          <a:solidFill>
            <a:srgbClr val="FF0000"/>
          </a:solidFill>
          <a:scene3d>
            <a:camera prst="orthographicFront"/>
            <a:lightRig rig="flat" dir="t"/>
          </a:scene3d>
          <a:sp3d z="-190500" extrusionH="12700" prstMaterial="plastic">
            <a:bevelT w="50800" h="50800"/>
          </a:sp3d>
        </p:spPr>
        <p:style>
          <a:lnRef idx="0">
            <a:schemeClr val="dk1">
              <a:hueOff val="0"/>
              <a:satOff val="0"/>
              <a:lumOff val="0"/>
              <a:alphaOff val="0"/>
            </a:schemeClr>
          </a:lnRef>
          <a:fillRef idx="3">
            <a:schemeClr val="accent2">
              <a:tint val="55000"/>
              <a:hueOff val="0"/>
              <a:satOff val="0"/>
              <a:lumOff val="0"/>
              <a:alphaOff val="0"/>
            </a:schemeClr>
          </a:fillRef>
          <a:effectRef idx="0">
            <a:schemeClr val="accent2">
              <a:tint val="55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xmlns="" val="16620449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46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5" dur="250"/>
                                        <p:tgtEl>
                                          <p:spTgt spid="46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250"/>
                                        <p:tgtEl>
                                          <p:spTgt spid="46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1" dur="250"/>
                                        <p:tgtEl>
                                          <p:spTgt spid="46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00"/>
                            </p:stCondLst>
                            <p:childTnLst>
                              <p:par>
                                <p:cTn id="28" presetID="6" presetClass="entr" presetSubtype="3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out)">
                                      <p:cBhvr>
                                        <p:cTn id="30" dur="250"/>
                                        <p:tgtEl>
                                          <p:spTgt spid="48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750"/>
                            </p:stCondLst>
                            <p:childTnLst>
                              <p:par>
                                <p:cTn id="3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4" dur="250"/>
                                        <p:tgtEl>
                                          <p:spTgt spid="48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8" dur="250"/>
                                        <p:tgtEl>
                                          <p:spTgt spid="48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250"/>
                            </p:stCondLst>
                            <p:childTnLst>
                              <p:par>
                                <p:cTn id="40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250"/>
                                        <p:tgtEl>
                                          <p:spTgt spid="48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500"/>
                            </p:stCondLst>
                            <p:childTnLst>
                              <p:par>
                                <p:cTn id="44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2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2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2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750"/>
                            </p:stCondLst>
                            <p:childTnLst>
                              <p:par>
                                <p:cTn id="50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2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2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2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2000"/>
                            </p:stCondLst>
                            <p:childTnLst>
                              <p:par>
                                <p:cTn id="56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8" dur="25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25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0" dur="25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25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25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25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  <p:bldGraphic spid="46" grpId="0" uiExpand="1">
        <p:bldSub>
          <a:bldChart bld="category"/>
        </p:bldSub>
      </p:bldGraphic>
      <p:bldP spid="4" grpId="0"/>
      <p:bldGraphic spid="48" grpId="0">
        <p:bldSub>
          <a:bldChart bld="categoryEl"/>
        </p:bldSub>
      </p:bldGraphic>
      <p:bldP spid="50" grpId="0"/>
      <p:bldP spid="54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/>
        </p:nvSpPr>
        <p:spPr bwMode="auto">
          <a:xfrm>
            <a:off x="-43162" y="1161120"/>
            <a:ext cx="9144000" cy="5696880"/>
          </a:xfrm>
          <a:prstGeom prst="rect">
            <a:avLst/>
          </a:prstGeom>
          <a:blipFill dpi="0" rotWithShape="1">
            <a:blip r:embed="rId3" cstate="print">
              <a:alphaModFix amt="93000"/>
            </a:blip>
            <a:srcRect/>
            <a:stretch>
              <a:fillRect/>
            </a:stretch>
          </a:blip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softEdge rad="317500"/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91470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3" name="Title 1"/>
          <p:cNvSpPr txBox="1">
            <a:spLocks/>
          </p:cNvSpPr>
          <p:nvPr/>
        </p:nvSpPr>
        <p:spPr>
          <a:xfrm>
            <a:off x="1022492" y="372391"/>
            <a:ext cx="5033924" cy="41717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rgbClr val="2875CA"/>
                </a:solidFill>
                <a:effectLst/>
                <a:uLnTx/>
                <a:uFillTx/>
                <a:latin typeface="Britannic Bold" pitchFamily="34" charset="0"/>
                <a:ea typeface="+mj-ea"/>
                <a:cs typeface="+mj-cs"/>
              </a:rPr>
              <a:t>Project Problem Definition - Objectives</a:t>
            </a:r>
            <a:endParaRPr kumimoji="0" lang="en-US" b="0" i="0" u="none" strike="noStrike" kern="0" cap="none" spc="0" normalizeH="0" baseline="0" noProof="0" dirty="0">
              <a:ln>
                <a:noFill/>
              </a:ln>
              <a:solidFill>
                <a:srgbClr val="2875CA"/>
              </a:solidFill>
              <a:effectLst/>
              <a:uLnTx/>
              <a:uFillTx/>
              <a:latin typeface="Britannic Bold" pitchFamily="34" charset="0"/>
              <a:ea typeface="+mj-ea"/>
              <a:cs typeface="+mj-cs"/>
            </a:endParaRPr>
          </a:p>
        </p:txBody>
      </p:sp>
      <p:grpSp>
        <p:nvGrpSpPr>
          <p:cNvPr id="44" name="Group 43"/>
          <p:cNvGrpSpPr/>
          <p:nvPr/>
        </p:nvGrpSpPr>
        <p:grpSpPr>
          <a:xfrm rot="264182">
            <a:off x="86596" y="91470"/>
            <a:ext cx="777240" cy="777240"/>
            <a:chOff x="3728638" y="1092389"/>
            <a:chExt cx="914400" cy="914400"/>
          </a:xfrm>
        </p:grpSpPr>
        <p:grpSp>
          <p:nvGrpSpPr>
            <p:cNvPr id="45" name="Group 44"/>
            <p:cNvGrpSpPr/>
            <p:nvPr/>
          </p:nvGrpSpPr>
          <p:grpSpPr>
            <a:xfrm>
              <a:off x="3728638" y="1092389"/>
              <a:ext cx="914400" cy="914400"/>
              <a:chOff x="2378075" y="502896"/>
              <a:chExt cx="2066925" cy="2066925"/>
            </a:xfrm>
          </p:grpSpPr>
          <p:grpSp>
            <p:nvGrpSpPr>
              <p:cNvPr id="47" name="Group 28"/>
              <p:cNvGrpSpPr>
                <a:grpSpLocks/>
              </p:cNvGrpSpPr>
              <p:nvPr/>
            </p:nvGrpSpPr>
            <p:grpSpPr bwMode="auto">
              <a:xfrm>
                <a:off x="2378075" y="502896"/>
                <a:ext cx="2066925" cy="2066925"/>
                <a:chOff x="2333625" y="219075"/>
                <a:chExt cx="2066236" cy="2066236"/>
              </a:xfrm>
            </p:grpSpPr>
            <p:grpSp>
              <p:nvGrpSpPr>
                <p:cNvPr id="53" name="Group 154"/>
                <p:cNvGrpSpPr>
                  <a:grpSpLocks/>
                </p:cNvGrpSpPr>
                <p:nvPr/>
              </p:nvGrpSpPr>
              <p:grpSpPr bwMode="auto">
                <a:xfrm>
                  <a:off x="2333625" y="219075"/>
                  <a:ext cx="2066236" cy="2066236"/>
                  <a:chOff x="2844111" y="1118742"/>
                  <a:chExt cx="3508375" cy="3508375"/>
                </a:xfrm>
              </p:grpSpPr>
              <p:sp>
                <p:nvSpPr>
                  <p:cNvPr id="55" name="Freeform 6"/>
                  <p:cNvSpPr>
                    <a:spLocks noEditPoints="1"/>
                  </p:cNvSpPr>
                  <p:nvPr>
                    <p:custDataLst>
                      <p:tags r:id="rId1"/>
                    </p:custDataLst>
                  </p:nvPr>
                </p:nvSpPr>
                <p:spPr bwMode="gray">
                  <a:xfrm rot="3600000">
                    <a:off x="2844111" y="1118742"/>
                    <a:ext cx="3508375" cy="3508375"/>
                  </a:xfrm>
                  <a:custGeom>
                    <a:avLst/>
                    <a:gdLst/>
                    <a:ahLst/>
                    <a:cxnLst>
                      <a:cxn ang="0">
                        <a:pos x="292" y="0"/>
                      </a:cxn>
                      <a:cxn ang="0">
                        <a:pos x="0" y="293"/>
                      </a:cxn>
                      <a:cxn ang="0">
                        <a:pos x="292" y="585"/>
                      </a:cxn>
                      <a:cxn ang="0">
                        <a:pos x="585" y="293"/>
                      </a:cxn>
                      <a:cxn ang="0">
                        <a:pos x="292" y="0"/>
                      </a:cxn>
                      <a:cxn ang="0">
                        <a:pos x="292" y="539"/>
                      </a:cxn>
                      <a:cxn ang="0">
                        <a:pos x="46" y="293"/>
                      </a:cxn>
                      <a:cxn ang="0">
                        <a:pos x="292" y="46"/>
                      </a:cxn>
                      <a:cxn ang="0">
                        <a:pos x="539" y="293"/>
                      </a:cxn>
                      <a:cxn ang="0">
                        <a:pos x="292" y="539"/>
                      </a:cxn>
                    </a:cxnLst>
                    <a:rect l="0" t="0" r="r" b="b"/>
                    <a:pathLst>
                      <a:path w="585" h="585">
                        <a:moveTo>
                          <a:pt x="292" y="0"/>
                        </a:moveTo>
                        <a:cubicBezTo>
                          <a:pt x="131" y="0"/>
                          <a:pt x="0" y="131"/>
                          <a:pt x="0" y="293"/>
                        </a:cubicBezTo>
                        <a:cubicBezTo>
                          <a:pt x="0" y="454"/>
                          <a:pt x="131" y="585"/>
                          <a:pt x="292" y="585"/>
                        </a:cubicBezTo>
                        <a:cubicBezTo>
                          <a:pt x="454" y="585"/>
                          <a:pt x="585" y="454"/>
                          <a:pt x="585" y="293"/>
                        </a:cubicBezTo>
                        <a:cubicBezTo>
                          <a:pt x="585" y="131"/>
                          <a:pt x="454" y="0"/>
                          <a:pt x="292" y="0"/>
                        </a:cubicBezTo>
                        <a:close/>
                        <a:moveTo>
                          <a:pt x="292" y="539"/>
                        </a:moveTo>
                        <a:cubicBezTo>
                          <a:pt x="156" y="539"/>
                          <a:pt x="46" y="429"/>
                          <a:pt x="46" y="293"/>
                        </a:cubicBezTo>
                        <a:cubicBezTo>
                          <a:pt x="46" y="156"/>
                          <a:pt x="156" y="46"/>
                          <a:pt x="292" y="46"/>
                        </a:cubicBezTo>
                        <a:cubicBezTo>
                          <a:pt x="429" y="46"/>
                          <a:pt x="539" y="156"/>
                          <a:pt x="539" y="293"/>
                        </a:cubicBezTo>
                        <a:cubicBezTo>
                          <a:pt x="539" y="429"/>
                          <a:pt x="429" y="539"/>
                          <a:pt x="292" y="539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4"/>
                  </a:lnRef>
                  <a:fillRef idx="3">
                    <a:schemeClr val="accent4"/>
                  </a:fillRef>
                  <a:effectRef idx="3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sz="900"/>
                  </a:p>
                </p:txBody>
              </p:sp>
              <p:sp>
                <p:nvSpPr>
                  <p:cNvPr id="56" name="Ellipse 12"/>
                  <p:cNvSpPr>
                    <a:spLocks noChangeArrowheads="1"/>
                  </p:cNvSpPr>
                  <p:nvPr/>
                </p:nvSpPr>
                <p:spPr bwMode="auto">
                  <a:xfrm>
                    <a:off x="3948899" y="2247780"/>
                    <a:ext cx="1279938" cy="127993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353637"/>
                      </a:gs>
                      <a:gs pos="100000">
                        <a:srgbClr val="151616"/>
                      </a:gs>
                    </a:gsLst>
                    <a:path path="shape">
                      <a:fillToRect l="50000" t="50000" r="50000" b="50000"/>
                    </a:path>
                  </a:gradFill>
                  <a:ln w="9525">
                    <a:solidFill>
                      <a:srgbClr val="191919"/>
                    </a:solidFill>
                    <a:round/>
                    <a:headEnd/>
                    <a:tailEnd/>
                  </a:ln>
                  <a:effectLst>
                    <a:outerShdw dist="23000" dir="5400000" rotWithShape="0">
                      <a:srgbClr val="808080">
                        <a:alpha val="34999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latin typeface="Calibri" charset="0"/>
                    </a:endParaRPr>
                  </a:p>
                </p:txBody>
              </p:sp>
              <p:sp>
                <p:nvSpPr>
                  <p:cNvPr id="57" name="Ellipse 13"/>
                  <p:cNvSpPr/>
                  <p:nvPr/>
                </p:nvSpPr>
                <p:spPr bwMode="auto">
                  <a:xfrm>
                    <a:off x="4118660" y="2304368"/>
                    <a:ext cx="940416" cy="692512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tx2">
                          <a:lumMod val="40000"/>
                          <a:lumOff val="60000"/>
                          <a:alpha val="0"/>
                        </a:schemeClr>
                      </a:gs>
                      <a:gs pos="100000">
                        <a:schemeClr val="bg1">
                          <a:alpha val="77000"/>
                        </a:schemeClr>
                      </a:gs>
                    </a:gsLst>
                    <a:lin ang="162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ea typeface="ＭＳ Ｐゴシック" charset="-128"/>
                    </a:endParaRPr>
                  </a:p>
                </p:txBody>
              </p:sp>
              <p:sp>
                <p:nvSpPr>
                  <p:cNvPr id="58" name="Block Arc 57"/>
                  <p:cNvSpPr/>
                  <p:nvPr/>
                </p:nvSpPr>
                <p:spPr>
                  <a:xfrm rot="18729919">
                    <a:off x="3230788" y="1508111"/>
                    <a:ext cx="2726940" cy="2729633"/>
                  </a:xfrm>
                  <a:prstGeom prst="blockArc">
                    <a:avLst>
                      <a:gd name="adj1" fmla="val 574634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900"/>
                  </a:p>
                </p:txBody>
              </p:sp>
              <p:sp>
                <p:nvSpPr>
                  <p:cNvPr id="59" name="Block Arc 58"/>
                  <p:cNvSpPr/>
                  <p:nvPr/>
                </p:nvSpPr>
                <p:spPr>
                  <a:xfrm rot="1352524">
                    <a:off x="3229440" y="1509459"/>
                    <a:ext cx="2729633" cy="2726940"/>
                  </a:xfrm>
                  <a:prstGeom prst="blockArc">
                    <a:avLst>
                      <a:gd name="adj1" fmla="val 596470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60" name="Block Arc 59"/>
                  <p:cNvSpPr/>
                  <p:nvPr/>
                </p:nvSpPr>
                <p:spPr>
                  <a:xfrm rot="5869595">
                    <a:off x="3230788" y="1508111"/>
                    <a:ext cx="2726940" cy="2729633"/>
                  </a:xfrm>
                  <a:prstGeom prst="blockArc">
                    <a:avLst>
                      <a:gd name="adj1" fmla="val 5627424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61" name="Block Arc 60"/>
                  <p:cNvSpPr/>
                  <p:nvPr/>
                </p:nvSpPr>
                <p:spPr>
                  <a:xfrm rot="10291675">
                    <a:off x="3229440" y="1509459"/>
                    <a:ext cx="2729633" cy="2726940"/>
                  </a:xfrm>
                  <a:prstGeom prst="blockArc">
                    <a:avLst>
                      <a:gd name="adj1" fmla="val 5803831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62" name="Block Arc 61"/>
                  <p:cNvSpPr/>
                  <p:nvPr/>
                </p:nvSpPr>
                <p:spPr>
                  <a:xfrm rot="14301489">
                    <a:off x="3230788" y="1508111"/>
                    <a:ext cx="2726940" cy="2729633"/>
                  </a:xfrm>
                  <a:prstGeom prst="blockArc">
                    <a:avLst>
                      <a:gd name="adj1" fmla="val 6140645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</p:grpSp>
            <p:sp>
              <p:nvSpPr>
                <p:cNvPr id="54" name="Ellipse 15"/>
                <p:cNvSpPr/>
                <p:nvPr/>
              </p:nvSpPr>
              <p:spPr bwMode="auto">
                <a:xfrm>
                  <a:off x="2763695" y="465055"/>
                  <a:ext cx="1237837" cy="91568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900" dirty="0"/>
                </a:p>
              </p:txBody>
            </p:sp>
          </p:grpSp>
          <p:sp>
            <p:nvSpPr>
              <p:cNvPr id="48" name="TextBox 47"/>
              <p:cNvSpPr txBox="1">
                <a:spLocks noChangeArrowheads="1"/>
              </p:cNvSpPr>
              <p:nvPr/>
            </p:nvSpPr>
            <p:spPr bwMode="auto">
              <a:xfrm>
                <a:off x="2754110" y="771753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D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49" name="TextBox 29"/>
              <p:cNvSpPr txBox="1">
                <a:spLocks noChangeArrowheads="1"/>
              </p:cNvSpPr>
              <p:nvPr/>
            </p:nvSpPr>
            <p:spPr bwMode="auto">
              <a:xfrm>
                <a:off x="2584640" y="1514847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M</a:t>
                </a:r>
              </a:p>
            </p:txBody>
          </p:sp>
          <p:sp>
            <p:nvSpPr>
              <p:cNvPr id="50" name="TextBox 29"/>
              <p:cNvSpPr txBox="1">
                <a:spLocks noChangeArrowheads="1"/>
              </p:cNvSpPr>
              <p:nvPr/>
            </p:nvSpPr>
            <p:spPr bwMode="auto">
              <a:xfrm>
                <a:off x="3253164" y="1880209"/>
                <a:ext cx="289718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A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51" name="TextBox 29"/>
              <p:cNvSpPr txBox="1">
                <a:spLocks noChangeArrowheads="1"/>
              </p:cNvSpPr>
              <p:nvPr/>
            </p:nvSpPr>
            <p:spPr bwMode="auto">
              <a:xfrm>
                <a:off x="3844923" y="13567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I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52" name="TextBox 29"/>
              <p:cNvSpPr txBox="1">
                <a:spLocks noChangeArrowheads="1"/>
              </p:cNvSpPr>
              <p:nvPr/>
            </p:nvSpPr>
            <p:spPr bwMode="auto">
              <a:xfrm>
                <a:off x="3487620" y="7158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C</a:t>
                </a:r>
              </a:p>
            </p:txBody>
          </p:sp>
        </p:grpSp>
        <p:sp>
          <p:nvSpPr>
            <p:cNvPr id="46" name="TextBox 29"/>
            <p:cNvSpPr txBox="1">
              <a:spLocks noChangeArrowheads="1"/>
            </p:cNvSpPr>
            <p:nvPr/>
          </p:nvSpPr>
          <p:spPr bwMode="auto">
            <a:xfrm rot="21335818">
              <a:off x="4043204" y="1353960"/>
              <a:ext cx="128171" cy="398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da-DK" sz="1600" b="1" dirty="0">
                  <a:solidFill>
                    <a:schemeClr val="bg1"/>
                  </a:solidFill>
                </a:rPr>
                <a:t>D</a:t>
              </a:r>
            </a:p>
          </p:txBody>
        </p:sp>
      </p:grpSp>
      <p:grpSp>
        <p:nvGrpSpPr>
          <p:cNvPr id="2" name="Group 1"/>
          <p:cNvGrpSpPr/>
          <p:nvPr/>
        </p:nvGrpSpPr>
        <p:grpSpPr>
          <a:xfrm rot="10800000">
            <a:off x="2203589" y="1142522"/>
            <a:ext cx="4837490" cy="4813928"/>
            <a:chOff x="-2897210" y="773769"/>
            <a:chExt cx="4837490" cy="4813928"/>
          </a:xfrm>
        </p:grpSpPr>
        <p:grpSp>
          <p:nvGrpSpPr>
            <p:cNvPr id="34" name="Group 33"/>
            <p:cNvGrpSpPr/>
            <p:nvPr/>
          </p:nvGrpSpPr>
          <p:grpSpPr>
            <a:xfrm>
              <a:off x="-2897210" y="789561"/>
              <a:ext cx="4837490" cy="4787072"/>
              <a:chOff x="1206038" y="79721"/>
              <a:chExt cx="4837490" cy="4787072"/>
            </a:xfrm>
            <a:scene3d>
              <a:camera prst="orthographicFront"/>
              <a:lightRig rig="flat" dir="t"/>
            </a:scene3d>
          </p:grpSpPr>
          <p:sp>
            <p:nvSpPr>
              <p:cNvPr id="36" name="Pie 35"/>
              <p:cNvSpPr/>
              <p:nvPr/>
            </p:nvSpPr>
            <p:spPr>
              <a:xfrm>
                <a:off x="1206038" y="79721"/>
                <a:ext cx="4837490" cy="4787072"/>
              </a:xfrm>
              <a:prstGeom prst="pie">
                <a:avLst>
                  <a:gd name="adj1" fmla="val 9000000"/>
                  <a:gd name="adj2" fmla="val 16200000"/>
                </a:avLst>
              </a:prstGeom>
              <a:sp3d prstMaterial="plastic">
                <a:bevelT w="120900" h="88900"/>
                <a:bevelB w="88900" h="31750" prst="angle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2">
                  <a:hueOff val="-12907317"/>
                  <a:satOff val="8311"/>
                  <a:lumOff val="6665"/>
                  <a:alphaOff val="0"/>
                </a:schemeClr>
              </a:fillRef>
              <a:effectRef idx="2">
                <a:schemeClr val="accent2">
                  <a:hueOff val="-12907317"/>
                  <a:satOff val="8311"/>
                  <a:lumOff val="6665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7" name="Pie 4"/>
              <p:cNvSpPr/>
              <p:nvPr/>
            </p:nvSpPr>
            <p:spPr>
              <a:xfrm rot="10800000">
                <a:off x="1723341" y="1172712"/>
                <a:ext cx="1727675" cy="1424724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25400" tIns="25400" rIns="25400" bIns="25400" numCol="1" spcCol="1270" anchor="ctr" anchorCtr="0">
                <a:noAutofit/>
              </a:bodyPr>
              <a:lstStyle/>
              <a:p>
                <a:pPr lvl="0" algn="ctr" defTabSz="8890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800" b="1" kern="1200" dirty="0" smtClean="0"/>
                  <a:t>To reduce wastage</a:t>
                </a:r>
                <a:endParaRPr lang="en-US" sz="1800" kern="1200" dirty="0"/>
              </a:p>
            </p:txBody>
          </p:sp>
        </p:grpSp>
        <p:sp>
          <p:nvSpPr>
            <p:cNvPr id="35" name="Circular Arrow 34"/>
            <p:cNvSpPr/>
            <p:nvPr/>
          </p:nvSpPr>
          <p:spPr>
            <a:xfrm>
              <a:off x="-2888411" y="773769"/>
              <a:ext cx="4813928" cy="4813928"/>
            </a:xfrm>
            <a:prstGeom prst="circularArrow">
              <a:avLst>
                <a:gd name="adj1" fmla="val 5085"/>
                <a:gd name="adj2" fmla="val 327528"/>
                <a:gd name="adj3" fmla="val 15873039"/>
                <a:gd name="adj4" fmla="val 9000000"/>
                <a:gd name="adj5" fmla="val 5932"/>
              </a:avLst>
            </a:prstGeom>
            <a:scene3d>
              <a:camera prst="orthographicFront"/>
              <a:lightRig rig="flat" dir="t"/>
            </a:scene3d>
            <a:sp3d z="127000" prstMaterial="plastic">
              <a:bevelT w="50800" h="50800"/>
              <a:bevelB w="25400" h="2540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-12907317"/>
                <a:satOff val="8311"/>
                <a:lumOff val="6665"/>
                <a:alphaOff val="0"/>
              </a:schemeClr>
            </a:fillRef>
            <a:effectRef idx="2">
              <a:schemeClr val="accent2">
                <a:hueOff val="-12907317"/>
                <a:satOff val="8311"/>
                <a:lumOff val="6665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4" name="Group 3"/>
          <p:cNvGrpSpPr/>
          <p:nvPr/>
        </p:nvGrpSpPr>
        <p:grpSpPr>
          <a:xfrm rot="17951894">
            <a:off x="2048737" y="1037245"/>
            <a:ext cx="4964680" cy="4890139"/>
            <a:chOff x="5700335" y="982676"/>
            <a:chExt cx="4964680" cy="4890139"/>
          </a:xfrm>
        </p:grpSpPr>
        <p:grpSp>
          <p:nvGrpSpPr>
            <p:cNvPr id="39" name="Group 38"/>
            <p:cNvGrpSpPr/>
            <p:nvPr/>
          </p:nvGrpSpPr>
          <p:grpSpPr>
            <a:xfrm>
              <a:off x="5700335" y="998468"/>
              <a:ext cx="4964680" cy="4874347"/>
              <a:chOff x="1255292" y="79721"/>
              <a:chExt cx="4964680" cy="4874347"/>
            </a:xfrm>
            <a:scene3d>
              <a:camera prst="orthographicFront"/>
              <a:lightRig rig="flat" dir="t"/>
            </a:scene3d>
          </p:grpSpPr>
          <p:sp>
            <p:nvSpPr>
              <p:cNvPr id="41" name="Pie 40"/>
              <p:cNvSpPr/>
              <p:nvPr/>
            </p:nvSpPr>
            <p:spPr>
              <a:xfrm>
                <a:off x="1255292" y="79721"/>
                <a:ext cx="4964680" cy="4874347"/>
              </a:xfrm>
              <a:prstGeom prst="pie">
                <a:avLst>
                  <a:gd name="adj1" fmla="val 16200000"/>
                  <a:gd name="adj2" fmla="val 1800000"/>
                </a:avLst>
              </a:prstGeom>
              <a:sp3d prstMaterial="plastic">
                <a:bevelT w="120900" h="88900"/>
                <a:bevelB w="88900" h="31750" prst="angle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2">
                  <a:hueOff val="0"/>
                  <a:satOff val="0"/>
                  <a:lumOff val="0"/>
                  <a:alphaOff val="0"/>
                </a:schemeClr>
              </a:fillRef>
              <a:effectRef idx="2">
                <a:schemeClr val="accent2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42" name="Pie 4"/>
              <p:cNvSpPr/>
              <p:nvPr/>
            </p:nvSpPr>
            <p:spPr>
              <a:xfrm rot="3648106">
                <a:off x="3920172" y="1143425"/>
                <a:ext cx="1727675" cy="1424724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22860" tIns="22860" rIns="22860" bIns="22860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800" b="1" kern="1200" dirty="0" smtClean="0"/>
                  <a:t>To meet environmental responsibility</a:t>
                </a:r>
                <a:endParaRPr lang="en-US" sz="1800" kern="1200" dirty="0"/>
              </a:p>
            </p:txBody>
          </p:sp>
        </p:grpSp>
        <p:sp>
          <p:nvSpPr>
            <p:cNvPr id="40" name="Circular Arrow 39"/>
            <p:cNvSpPr/>
            <p:nvPr/>
          </p:nvSpPr>
          <p:spPr>
            <a:xfrm>
              <a:off x="5837030" y="982676"/>
              <a:ext cx="4813928" cy="4813928"/>
            </a:xfrm>
            <a:prstGeom prst="circularArrow">
              <a:avLst>
                <a:gd name="adj1" fmla="val 5085"/>
                <a:gd name="adj2" fmla="val 327528"/>
                <a:gd name="adj3" fmla="val 1472472"/>
                <a:gd name="adj4" fmla="val 16199432"/>
                <a:gd name="adj5" fmla="val 5932"/>
              </a:avLst>
            </a:prstGeom>
            <a:scene3d>
              <a:camera prst="orthographicFront"/>
              <a:lightRig rig="flat" dir="t"/>
            </a:scene3d>
            <a:sp3d z="127000" prstMaterial="plastic">
              <a:bevelT w="50800" h="50800"/>
              <a:bevelB w="25400" h="2540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0"/>
                <a:satOff val="0"/>
                <a:lumOff val="0"/>
                <a:alphaOff val="0"/>
              </a:schemeClr>
            </a:fillRef>
            <a:effectRef idx="2">
              <a:schemeClr val="accent2"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5" name="Group 4"/>
          <p:cNvGrpSpPr/>
          <p:nvPr/>
        </p:nvGrpSpPr>
        <p:grpSpPr>
          <a:xfrm rot="3567548">
            <a:off x="2030597" y="1141183"/>
            <a:ext cx="4837490" cy="4813928"/>
            <a:chOff x="6981593" y="1546513"/>
            <a:chExt cx="4837490" cy="4813928"/>
          </a:xfrm>
        </p:grpSpPr>
        <p:grpSp>
          <p:nvGrpSpPr>
            <p:cNvPr id="67" name="Group 66"/>
            <p:cNvGrpSpPr/>
            <p:nvPr/>
          </p:nvGrpSpPr>
          <p:grpSpPr>
            <a:xfrm>
              <a:off x="6981593" y="1562576"/>
              <a:ext cx="4837490" cy="4787072"/>
              <a:chOff x="1294260" y="232706"/>
              <a:chExt cx="4837490" cy="4787072"/>
            </a:xfrm>
            <a:scene3d>
              <a:camera prst="orthographicFront"/>
              <a:lightRig rig="flat" dir="t"/>
            </a:scene3d>
          </p:grpSpPr>
          <p:sp>
            <p:nvSpPr>
              <p:cNvPr id="69" name="Pie 68"/>
              <p:cNvSpPr/>
              <p:nvPr/>
            </p:nvSpPr>
            <p:spPr>
              <a:xfrm>
                <a:off x="1294260" y="232706"/>
                <a:ext cx="4837490" cy="4787072"/>
              </a:xfrm>
              <a:prstGeom prst="pie">
                <a:avLst>
                  <a:gd name="adj1" fmla="val 1800000"/>
                  <a:gd name="adj2" fmla="val 9000000"/>
                </a:avLst>
              </a:prstGeom>
              <a:sp3d prstMaterial="plastic">
                <a:bevelT w="120900" h="88900"/>
                <a:bevelB w="88900" h="31750" prst="angle"/>
              </a:sp3d>
            </p:spPr>
            <p:style>
              <a:lnRef idx="0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3">
                <a:schemeClr val="accent2">
                  <a:hueOff val="-6453658"/>
                  <a:satOff val="4155"/>
                  <a:lumOff val="3333"/>
                  <a:alphaOff val="0"/>
                </a:schemeClr>
              </a:fillRef>
              <a:effectRef idx="2">
                <a:schemeClr val="accent2">
                  <a:hueOff val="-6453658"/>
                  <a:satOff val="4155"/>
                  <a:lumOff val="3333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Pie 4"/>
              <p:cNvSpPr/>
              <p:nvPr/>
            </p:nvSpPr>
            <p:spPr>
              <a:xfrm rot="18032452">
                <a:off x="2770455" y="3118449"/>
                <a:ext cx="2020279" cy="1253757"/>
              </a:xfrm>
              <a:prstGeom prst="rect">
                <a:avLst/>
              </a:prstGeom>
              <a:sp3d/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spcFirstLastPara="0" vert="horz" wrap="square" lIns="22860" tIns="22860" rIns="22860" bIns="22860" numCol="1" spcCol="1270" anchor="ctr" anchorCtr="0">
                <a:noAutofit/>
              </a:bodyPr>
              <a:lstStyle/>
              <a:p>
                <a:pPr lvl="0" algn="ctr" defTabSz="80010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1600" b="1" kern="1200" dirty="0" smtClean="0"/>
                  <a:t>To improve Water Efficiency Index by 20% by 2013 &amp; reduce water cost $1M annually</a:t>
                </a:r>
                <a:endParaRPr lang="en-US" sz="1600" kern="1200" dirty="0"/>
              </a:p>
            </p:txBody>
          </p:sp>
        </p:grpSp>
        <p:sp>
          <p:nvSpPr>
            <p:cNvPr id="68" name="Circular Arrow 67"/>
            <p:cNvSpPr/>
            <p:nvPr/>
          </p:nvSpPr>
          <p:spPr>
            <a:xfrm>
              <a:off x="6990745" y="1546513"/>
              <a:ext cx="4813928" cy="4813928"/>
            </a:xfrm>
            <a:prstGeom prst="circularArrow">
              <a:avLst>
                <a:gd name="adj1" fmla="val 5085"/>
                <a:gd name="adj2" fmla="val 327528"/>
                <a:gd name="adj3" fmla="val 8671970"/>
                <a:gd name="adj4" fmla="val 1800502"/>
                <a:gd name="adj5" fmla="val 5932"/>
              </a:avLst>
            </a:prstGeom>
            <a:scene3d>
              <a:camera prst="orthographicFront"/>
              <a:lightRig rig="flat" dir="t"/>
            </a:scene3d>
            <a:sp3d z="127000" prstMaterial="plastic">
              <a:bevelT w="50800" h="50800"/>
              <a:bevelB w="25400" h="25400" prst="angle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2">
                <a:hueOff val="-6453658"/>
                <a:satOff val="4155"/>
                <a:lumOff val="3333"/>
                <a:alphaOff val="0"/>
              </a:schemeClr>
            </a:fillRef>
            <a:effectRef idx="2">
              <a:schemeClr val="accent2">
                <a:hueOff val="-6453658"/>
                <a:satOff val="4155"/>
                <a:lumOff val="3333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</p:spTree>
    <p:extLst>
      <p:ext uri="{BB962C8B-B14F-4D97-AF65-F5344CB8AC3E}">
        <p14:creationId xmlns:p14="http://schemas.microsoft.com/office/powerpoint/2010/main" xmlns="" val="38315030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" name="Picture 5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2349794"/>
            <a:ext cx="9144000" cy="4508205"/>
          </a:xfrm>
          <a:prstGeom prst="rect">
            <a:avLst/>
          </a:prstGeom>
        </p:spPr>
      </p:pic>
      <p:graphicFrame>
        <p:nvGraphicFramePr>
          <p:cNvPr id="5" name="Chart 4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517010113"/>
              </p:ext>
            </p:extLst>
          </p:nvPr>
        </p:nvGraphicFramePr>
        <p:xfrm>
          <a:off x="245330" y="839278"/>
          <a:ext cx="6495712" cy="38603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3" name="Title 1"/>
          <p:cNvSpPr txBox="1">
            <a:spLocks/>
          </p:cNvSpPr>
          <p:nvPr/>
        </p:nvSpPr>
        <p:spPr bwMode="auto">
          <a:xfrm>
            <a:off x="212591" y="1479883"/>
            <a:ext cx="2043722" cy="337042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2875CA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000">
                <a:solidFill>
                  <a:srgbClr val="000000"/>
                </a:solidFill>
                <a:latin typeface="Arial" charset="0"/>
              </a:defRPr>
            </a:lvl9pPr>
          </a:lstStyle>
          <a:p>
            <a:r>
              <a:rPr lang="en-US" sz="1400" kern="0" dirty="0" smtClean="0">
                <a:latin typeface="Britannic Bold" pitchFamily="34" charset="0"/>
              </a:rPr>
              <a:t>Type of </a:t>
            </a:r>
            <a:r>
              <a:rPr lang="en-US" sz="1400" kern="0" dirty="0">
                <a:latin typeface="Britannic Bold" pitchFamily="34" charset="0"/>
              </a:rPr>
              <a:t>PUB Water Used</a:t>
            </a:r>
          </a:p>
        </p:txBody>
      </p:sp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91470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28" name="Group 27"/>
          <p:cNvGrpSpPr/>
          <p:nvPr/>
        </p:nvGrpSpPr>
        <p:grpSpPr>
          <a:xfrm rot="264182">
            <a:off x="86596" y="91470"/>
            <a:ext cx="777240" cy="777240"/>
            <a:chOff x="3728638" y="1092389"/>
            <a:chExt cx="914400" cy="914400"/>
          </a:xfrm>
        </p:grpSpPr>
        <p:grpSp>
          <p:nvGrpSpPr>
            <p:cNvPr id="29" name="Group 28"/>
            <p:cNvGrpSpPr/>
            <p:nvPr/>
          </p:nvGrpSpPr>
          <p:grpSpPr>
            <a:xfrm>
              <a:off x="3728638" y="1092389"/>
              <a:ext cx="914400" cy="914400"/>
              <a:chOff x="2378075" y="502896"/>
              <a:chExt cx="2066925" cy="2066925"/>
            </a:xfrm>
          </p:grpSpPr>
          <p:grpSp>
            <p:nvGrpSpPr>
              <p:cNvPr id="31" name="Group 28"/>
              <p:cNvGrpSpPr>
                <a:grpSpLocks/>
              </p:cNvGrpSpPr>
              <p:nvPr/>
            </p:nvGrpSpPr>
            <p:grpSpPr bwMode="auto">
              <a:xfrm>
                <a:off x="2378075" y="502896"/>
                <a:ext cx="2066925" cy="2066925"/>
                <a:chOff x="2333625" y="219075"/>
                <a:chExt cx="2066236" cy="2066236"/>
              </a:xfrm>
            </p:grpSpPr>
            <p:grpSp>
              <p:nvGrpSpPr>
                <p:cNvPr id="37" name="Group 154"/>
                <p:cNvGrpSpPr>
                  <a:grpSpLocks/>
                </p:cNvGrpSpPr>
                <p:nvPr/>
              </p:nvGrpSpPr>
              <p:grpSpPr bwMode="auto">
                <a:xfrm>
                  <a:off x="2333625" y="219075"/>
                  <a:ext cx="2066236" cy="2066236"/>
                  <a:chOff x="2844111" y="1118742"/>
                  <a:chExt cx="3508375" cy="3508375"/>
                </a:xfrm>
              </p:grpSpPr>
              <p:sp>
                <p:nvSpPr>
                  <p:cNvPr id="39" name="Freeform 6"/>
                  <p:cNvSpPr>
                    <a:spLocks noEditPoints="1"/>
                  </p:cNvSpPr>
                  <p:nvPr>
                    <p:custDataLst>
                      <p:tags r:id="rId3"/>
                    </p:custDataLst>
                  </p:nvPr>
                </p:nvSpPr>
                <p:spPr bwMode="gray">
                  <a:xfrm rot="3600000">
                    <a:off x="2844111" y="1118742"/>
                    <a:ext cx="3508375" cy="3508375"/>
                  </a:xfrm>
                  <a:custGeom>
                    <a:avLst/>
                    <a:gdLst/>
                    <a:ahLst/>
                    <a:cxnLst>
                      <a:cxn ang="0">
                        <a:pos x="292" y="0"/>
                      </a:cxn>
                      <a:cxn ang="0">
                        <a:pos x="0" y="293"/>
                      </a:cxn>
                      <a:cxn ang="0">
                        <a:pos x="292" y="585"/>
                      </a:cxn>
                      <a:cxn ang="0">
                        <a:pos x="585" y="293"/>
                      </a:cxn>
                      <a:cxn ang="0">
                        <a:pos x="292" y="0"/>
                      </a:cxn>
                      <a:cxn ang="0">
                        <a:pos x="292" y="539"/>
                      </a:cxn>
                      <a:cxn ang="0">
                        <a:pos x="46" y="293"/>
                      </a:cxn>
                      <a:cxn ang="0">
                        <a:pos x="292" y="46"/>
                      </a:cxn>
                      <a:cxn ang="0">
                        <a:pos x="539" y="293"/>
                      </a:cxn>
                      <a:cxn ang="0">
                        <a:pos x="292" y="539"/>
                      </a:cxn>
                    </a:cxnLst>
                    <a:rect l="0" t="0" r="r" b="b"/>
                    <a:pathLst>
                      <a:path w="585" h="585">
                        <a:moveTo>
                          <a:pt x="292" y="0"/>
                        </a:moveTo>
                        <a:cubicBezTo>
                          <a:pt x="131" y="0"/>
                          <a:pt x="0" y="131"/>
                          <a:pt x="0" y="293"/>
                        </a:cubicBezTo>
                        <a:cubicBezTo>
                          <a:pt x="0" y="454"/>
                          <a:pt x="131" y="585"/>
                          <a:pt x="292" y="585"/>
                        </a:cubicBezTo>
                        <a:cubicBezTo>
                          <a:pt x="454" y="585"/>
                          <a:pt x="585" y="454"/>
                          <a:pt x="585" y="293"/>
                        </a:cubicBezTo>
                        <a:cubicBezTo>
                          <a:pt x="585" y="131"/>
                          <a:pt x="454" y="0"/>
                          <a:pt x="292" y="0"/>
                        </a:cubicBezTo>
                        <a:close/>
                        <a:moveTo>
                          <a:pt x="292" y="539"/>
                        </a:moveTo>
                        <a:cubicBezTo>
                          <a:pt x="156" y="539"/>
                          <a:pt x="46" y="429"/>
                          <a:pt x="46" y="293"/>
                        </a:cubicBezTo>
                        <a:cubicBezTo>
                          <a:pt x="46" y="156"/>
                          <a:pt x="156" y="46"/>
                          <a:pt x="292" y="46"/>
                        </a:cubicBezTo>
                        <a:cubicBezTo>
                          <a:pt x="429" y="46"/>
                          <a:pt x="539" y="156"/>
                          <a:pt x="539" y="293"/>
                        </a:cubicBezTo>
                        <a:cubicBezTo>
                          <a:pt x="539" y="429"/>
                          <a:pt x="429" y="539"/>
                          <a:pt x="292" y="539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4"/>
                  </a:lnRef>
                  <a:fillRef idx="3">
                    <a:schemeClr val="accent4"/>
                  </a:fillRef>
                  <a:effectRef idx="3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sz="900"/>
                  </a:p>
                </p:txBody>
              </p:sp>
              <p:sp>
                <p:nvSpPr>
                  <p:cNvPr id="40" name="Ellipse 12"/>
                  <p:cNvSpPr>
                    <a:spLocks noChangeArrowheads="1"/>
                  </p:cNvSpPr>
                  <p:nvPr/>
                </p:nvSpPr>
                <p:spPr bwMode="auto">
                  <a:xfrm>
                    <a:off x="3948899" y="2247780"/>
                    <a:ext cx="1279938" cy="127993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353637"/>
                      </a:gs>
                      <a:gs pos="100000">
                        <a:srgbClr val="151616"/>
                      </a:gs>
                    </a:gsLst>
                    <a:path path="shape">
                      <a:fillToRect l="50000" t="50000" r="50000" b="50000"/>
                    </a:path>
                  </a:gradFill>
                  <a:ln w="9525">
                    <a:solidFill>
                      <a:srgbClr val="191919"/>
                    </a:solidFill>
                    <a:round/>
                    <a:headEnd/>
                    <a:tailEnd/>
                  </a:ln>
                  <a:effectLst>
                    <a:outerShdw dist="23000" dir="5400000" rotWithShape="0">
                      <a:srgbClr val="808080">
                        <a:alpha val="34999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latin typeface="Calibri" charset="0"/>
                    </a:endParaRPr>
                  </a:p>
                </p:txBody>
              </p:sp>
              <p:sp>
                <p:nvSpPr>
                  <p:cNvPr id="41" name="Ellipse 13"/>
                  <p:cNvSpPr/>
                  <p:nvPr/>
                </p:nvSpPr>
                <p:spPr bwMode="auto">
                  <a:xfrm>
                    <a:off x="4118660" y="2304368"/>
                    <a:ext cx="940416" cy="692512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tx2">
                          <a:lumMod val="40000"/>
                          <a:lumOff val="60000"/>
                          <a:alpha val="0"/>
                        </a:schemeClr>
                      </a:gs>
                      <a:gs pos="100000">
                        <a:schemeClr val="bg1">
                          <a:alpha val="77000"/>
                        </a:schemeClr>
                      </a:gs>
                    </a:gsLst>
                    <a:lin ang="162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ea typeface="ＭＳ Ｐゴシック" charset="-128"/>
                    </a:endParaRPr>
                  </a:p>
                </p:txBody>
              </p:sp>
              <p:sp>
                <p:nvSpPr>
                  <p:cNvPr id="42" name="Block Arc 41"/>
                  <p:cNvSpPr/>
                  <p:nvPr/>
                </p:nvSpPr>
                <p:spPr>
                  <a:xfrm rot="18729919">
                    <a:off x="3230788" y="1508111"/>
                    <a:ext cx="2726940" cy="2729633"/>
                  </a:xfrm>
                  <a:prstGeom prst="blockArc">
                    <a:avLst>
                      <a:gd name="adj1" fmla="val 574634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900"/>
                  </a:p>
                </p:txBody>
              </p:sp>
              <p:sp>
                <p:nvSpPr>
                  <p:cNvPr id="43" name="Block Arc 42"/>
                  <p:cNvSpPr/>
                  <p:nvPr/>
                </p:nvSpPr>
                <p:spPr>
                  <a:xfrm rot="1352524">
                    <a:off x="3229440" y="1509459"/>
                    <a:ext cx="2729633" cy="2726940"/>
                  </a:xfrm>
                  <a:prstGeom prst="blockArc">
                    <a:avLst>
                      <a:gd name="adj1" fmla="val 596470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4" name="Block Arc 43"/>
                  <p:cNvSpPr/>
                  <p:nvPr/>
                </p:nvSpPr>
                <p:spPr>
                  <a:xfrm rot="5869595">
                    <a:off x="3230788" y="1508111"/>
                    <a:ext cx="2726940" cy="2729633"/>
                  </a:xfrm>
                  <a:prstGeom prst="blockArc">
                    <a:avLst>
                      <a:gd name="adj1" fmla="val 5627424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5" name="Block Arc 44"/>
                  <p:cNvSpPr/>
                  <p:nvPr/>
                </p:nvSpPr>
                <p:spPr>
                  <a:xfrm rot="10291675">
                    <a:off x="3229440" y="1509459"/>
                    <a:ext cx="2729633" cy="2726940"/>
                  </a:xfrm>
                  <a:prstGeom prst="blockArc">
                    <a:avLst>
                      <a:gd name="adj1" fmla="val 5803831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46" name="Block Arc 45"/>
                  <p:cNvSpPr/>
                  <p:nvPr/>
                </p:nvSpPr>
                <p:spPr>
                  <a:xfrm rot="14301489">
                    <a:off x="3230788" y="1508111"/>
                    <a:ext cx="2726940" cy="2729633"/>
                  </a:xfrm>
                  <a:prstGeom prst="blockArc">
                    <a:avLst>
                      <a:gd name="adj1" fmla="val 6140645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</p:grpSp>
            <p:sp>
              <p:nvSpPr>
                <p:cNvPr id="38" name="Ellipse 15"/>
                <p:cNvSpPr/>
                <p:nvPr/>
              </p:nvSpPr>
              <p:spPr bwMode="auto">
                <a:xfrm>
                  <a:off x="2763695" y="465055"/>
                  <a:ext cx="1237837" cy="91568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900" dirty="0"/>
                </a:p>
              </p:txBody>
            </p:sp>
          </p:grpSp>
          <p:sp>
            <p:nvSpPr>
              <p:cNvPr id="32" name="TextBox 29"/>
              <p:cNvSpPr txBox="1">
                <a:spLocks noChangeArrowheads="1"/>
              </p:cNvSpPr>
              <p:nvPr/>
            </p:nvSpPr>
            <p:spPr bwMode="auto">
              <a:xfrm>
                <a:off x="2754110" y="771753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D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33" name="TextBox 29"/>
              <p:cNvSpPr txBox="1">
                <a:spLocks noChangeArrowheads="1"/>
              </p:cNvSpPr>
              <p:nvPr/>
            </p:nvSpPr>
            <p:spPr bwMode="auto">
              <a:xfrm>
                <a:off x="2584640" y="1514847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M</a:t>
                </a:r>
              </a:p>
            </p:txBody>
          </p:sp>
          <p:sp>
            <p:nvSpPr>
              <p:cNvPr id="34" name="TextBox 33"/>
              <p:cNvSpPr txBox="1">
                <a:spLocks noChangeArrowheads="1"/>
              </p:cNvSpPr>
              <p:nvPr/>
            </p:nvSpPr>
            <p:spPr bwMode="auto">
              <a:xfrm>
                <a:off x="3253164" y="1880209"/>
                <a:ext cx="289718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A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35" name="TextBox 29"/>
              <p:cNvSpPr txBox="1">
                <a:spLocks noChangeArrowheads="1"/>
              </p:cNvSpPr>
              <p:nvPr/>
            </p:nvSpPr>
            <p:spPr bwMode="auto">
              <a:xfrm>
                <a:off x="3844923" y="13567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I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36" name="TextBox 29"/>
              <p:cNvSpPr txBox="1">
                <a:spLocks noChangeArrowheads="1"/>
              </p:cNvSpPr>
              <p:nvPr/>
            </p:nvSpPr>
            <p:spPr bwMode="auto">
              <a:xfrm>
                <a:off x="3487620" y="7158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C</a:t>
                </a:r>
              </a:p>
            </p:txBody>
          </p:sp>
        </p:grpSp>
        <p:sp>
          <p:nvSpPr>
            <p:cNvPr id="30" name="TextBox 29"/>
            <p:cNvSpPr txBox="1">
              <a:spLocks noChangeArrowheads="1"/>
            </p:cNvSpPr>
            <p:nvPr/>
          </p:nvSpPr>
          <p:spPr bwMode="auto">
            <a:xfrm rot="21335818">
              <a:off x="4075559" y="1341398"/>
              <a:ext cx="128171" cy="4707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da-DK" sz="1000" b="1" dirty="0" smtClean="0">
                  <a:solidFill>
                    <a:schemeClr val="bg1"/>
                  </a:solidFill>
                </a:rPr>
                <a:t>MA</a:t>
              </a:r>
              <a:endParaRPr lang="da-DK" sz="1000" b="1" dirty="0">
                <a:solidFill>
                  <a:schemeClr val="bg1"/>
                </a:solidFill>
              </a:endParaRPr>
            </a:p>
          </p:txBody>
        </p:sp>
      </p:grpSp>
      <p:sp>
        <p:nvSpPr>
          <p:cNvPr id="47" name="Title 1"/>
          <p:cNvSpPr txBox="1">
            <a:spLocks/>
          </p:cNvSpPr>
          <p:nvPr/>
        </p:nvSpPr>
        <p:spPr>
          <a:xfrm>
            <a:off x="1007698" y="346346"/>
            <a:ext cx="2840620" cy="41717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000" kern="0" dirty="0" smtClean="0">
                <a:solidFill>
                  <a:srgbClr val="2875CA"/>
                </a:solidFill>
                <a:latin typeface="Britannic Bold" pitchFamily="34" charset="0"/>
              </a:rPr>
              <a:t>Measurement </a:t>
            </a:r>
            <a:r>
              <a:rPr lang="en-US" sz="2000" kern="0" dirty="0">
                <a:solidFill>
                  <a:srgbClr val="2875CA"/>
                </a:solidFill>
                <a:latin typeface="Britannic Bold" pitchFamily="34" charset="0"/>
              </a:rPr>
              <a:t>&amp; Analysi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2875CA"/>
              </a:solidFill>
              <a:effectLst/>
              <a:uLnTx/>
              <a:uFillTx/>
              <a:latin typeface="Britannic Bold" pitchFamily="34" charset="0"/>
              <a:ea typeface="+mj-ea"/>
              <a:cs typeface="+mj-cs"/>
            </a:endParaRPr>
          </a:p>
        </p:txBody>
      </p:sp>
      <p:graphicFrame>
        <p:nvGraphicFramePr>
          <p:cNvPr id="48" name="Chart 47"/>
          <p:cNvGraphicFramePr/>
          <p:nvPr>
            <p:extLst>
              <p:ext uri="{D42A27DB-BD31-4B8C-83A1-F6EECF244321}">
                <p14:modId xmlns:p14="http://schemas.microsoft.com/office/powerpoint/2010/main" xmlns="" val="486168262"/>
              </p:ext>
            </p:extLst>
          </p:nvPr>
        </p:nvGraphicFramePr>
        <p:xfrm>
          <a:off x="4380614" y="515306"/>
          <a:ext cx="4763387" cy="2536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pSp>
        <p:nvGrpSpPr>
          <p:cNvPr id="2" name="Group 1"/>
          <p:cNvGrpSpPr/>
          <p:nvPr/>
        </p:nvGrpSpPr>
        <p:grpSpPr>
          <a:xfrm>
            <a:off x="-1" y="3498112"/>
            <a:ext cx="5220587" cy="3359888"/>
            <a:chOff x="-1" y="3498112"/>
            <a:chExt cx="5220587" cy="3359888"/>
          </a:xfrm>
        </p:grpSpPr>
        <p:graphicFrame>
          <p:nvGraphicFramePr>
            <p:cNvPr id="3" name="Chart 2"/>
            <p:cNvGraphicFramePr/>
            <p:nvPr>
              <p:extLst>
                <p:ext uri="{D42A27DB-BD31-4B8C-83A1-F6EECF244321}">
                  <p14:modId xmlns:p14="http://schemas.microsoft.com/office/powerpoint/2010/main" xmlns="" val="3624885431"/>
                </p:ext>
              </p:extLst>
            </p:nvPr>
          </p:nvGraphicFramePr>
          <p:xfrm>
            <a:off x="-1" y="3498112"/>
            <a:ext cx="5220587" cy="335988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10"/>
            </a:graphicData>
          </a:graphic>
        </p:graphicFrame>
        <p:sp>
          <p:nvSpPr>
            <p:cNvPr id="4" name="TextBox 3"/>
            <p:cNvSpPr txBox="1"/>
            <p:nvPr/>
          </p:nvSpPr>
          <p:spPr>
            <a:xfrm>
              <a:off x="731888" y="6306200"/>
              <a:ext cx="774353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b="1" dirty="0" smtClean="0"/>
                <a:t>DI Water</a:t>
              </a:r>
              <a:endParaRPr lang="en-US" sz="1100" b="1" dirty="0"/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2461664" y="6220560"/>
              <a:ext cx="774353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 b="1"/>
              </a:lvl1pPr>
            </a:lstStyle>
            <a:p>
              <a:r>
                <a:rPr lang="en-US" dirty="0"/>
                <a:t>Cooling Tower</a:t>
              </a: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3236017" y="6359868"/>
              <a:ext cx="869355" cy="2616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 b="1"/>
              </a:lvl1pPr>
            </a:lstStyle>
            <a:p>
              <a:r>
                <a:rPr lang="en-US" dirty="0"/>
                <a:t>Scrubber</a:t>
              </a: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4190420" y="6159460"/>
              <a:ext cx="774353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100" b="1" dirty="0" smtClean="0"/>
                <a:t>Process Cooling Water</a:t>
              </a:r>
              <a:endParaRPr lang="en-US" sz="1100" b="1" dirty="0"/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1528715" y="6248279"/>
              <a:ext cx="989585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en-US"/>
              </a:defPPr>
              <a:lvl1pPr>
                <a:defRPr sz="1100" b="1"/>
              </a:lvl1pPr>
            </a:lstStyle>
            <a:p>
              <a:r>
                <a:rPr lang="en-US" dirty="0"/>
                <a:t>Production Tools</a:t>
              </a:r>
            </a:p>
          </p:txBody>
        </p:sp>
      </p:grpSp>
      <p:sp>
        <p:nvSpPr>
          <p:cNvPr id="62" name="Right Arrow 61"/>
          <p:cNvSpPr/>
          <p:nvPr/>
        </p:nvSpPr>
        <p:spPr bwMode="auto">
          <a:xfrm rot="20680804">
            <a:off x="4091328" y="1488371"/>
            <a:ext cx="978408" cy="262013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  <p:sp>
        <p:nvSpPr>
          <p:cNvPr id="54" name="Right Arrow 53"/>
          <p:cNvSpPr/>
          <p:nvPr/>
        </p:nvSpPr>
        <p:spPr bwMode="auto">
          <a:xfrm rot="6488017">
            <a:off x="1652098" y="4151064"/>
            <a:ext cx="978408" cy="262013"/>
          </a:xfrm>
          <a:prstGeom prst="rightArrow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smtClean="0">
              <a:ln>
                <a:noFill/>
              </a:ln>
              <a:solidFill>
                <a:srgbClr val="000000"/>
              </a:solidFill>
              <a:effectLst/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xmlns="" val="19190506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10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5" name="water-splash-2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5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5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5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16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5" name="water-splash-2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5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5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1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" grpId="0" uiExpand="1">
        <p:bldSub>
          <a:bldChart bld="category"/>
        </p:bldSub>
      </p:bldGraphic>
      <p:bldGraphic spid="48" grpId="0">
        <p:bldAsOne/>
      </p:bldGraphic>
      <p:bldP spid="62" grpId="0" animBg="1"/>
      <p:bldP spid="54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" name="Picture 6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8336" b="16622"/>
          <a:stretch/>
        </p:blipFill>
        <p:spPr>
          <a:xfrm>
            <a:off x="0" y="657601"/>
            <a:ext cx="9144000" cy="6203295"/>
          </a:xfrm>
          <a:prstGeom prst="rect">
            <a:avLst/>
          </a:prstGeom>
        </p:spPr>
      </p:pic>
      <p:sp>
        <p:nvSpPr>
          <p:cNvPr id="87" name="Rectangle 86"/>
          <p:cNvSpPr/>
          <p:nvPr/>
        </p:nvSpPr>
        <p:spPr>
          <a:xfrm rot="5400000">
            <a:off x="2082695" y="-207447"/>
            <a:ext cx="4962138" cy="9160472"/>
          </a:xfrm>
          <a:prstGeom prst="rect">
            <a:avLst/>
          </a:prstGeom>
          <a:gradFill>
            <a:gsLst>
              <a:gs pos="0">
                <a:schemeClr val="bg1">
                  <a:alpha val="0"/>
                </a:schemeClr>
              </a:gs>
              <a:gs pos="100000">
                <a:schemeClr val="bg1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 Placeholder 1"/>
          <p:cNvSpPr txBox="1">
            <a:spLocks/>
          </p:cNvSpPr>
          <p:nvPr/>
        </p:nvSpPr>
        <p:spPr bwMode="auto">
          <a:xfrm>
            <a:off x="103970" y="3725184"/>
            <a:ext cx="8835243" cy="774327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endParaRPr kumimoji="0" lang="en-US" sz="3600" b="0" i="0" u="none" strike="noStrike" kern="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9" name="Straight Arrow Connector 8"/>
          <p:cNvCxnSpPr/>
          <p:nvPr/>
        </p:nvCxnSpPr>
        <p:spPr bwMode="auto">
          <a:xfrm>
            <a:off x="489098" y="5021803"/>
            <a:ext cx="5932967" cy="23751"/>
          </a:xfrm>
          <a:prstGeom prst="straightConnector1">
            <a:avLst/>
          </a:prstGeom>
          <a:ln w="79375">
            <a:headEnd type="none" w="med" len="med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2" name="Straight Arrow Connector 11"/>
          <p:cNvCxnSpPr/>
          <p:nvPr/>
        </p:nvCxnSpPr>
        <p:spPr bwMode="auto">
          <a:xfrm>
            <a:off x="5475767" y="4580054"/>
            <a:ext cx="450020" cy="428631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5" name="Straight Arrow Connector 14"/>
          <p:cNvCxnSpPr/>
          <p:nvPr/>
        </p:nvCxnSpPr>
        <p:spPr bwMode="auto">
          <a:xfrm flipV="1">
            <a:off x="4577556" y="5057432"/>
            <a:ext cx="481332" cy="599098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8" name="Straight Arrow Connector 17"/>
          <p:cNvCxnSpPr/>
          <p:nvPr/>
        </p:nvCxnSpPr>
        <p:spPr bwMode="auto">
          <a:xfrm>
            <a:off x="2583712" y="4499511"/>
            <a:ext cx="503872" cy="497299"/>
          </a:xfrm>
          <a:prstGeom prst="straightConnector1">
            <a:avLst/>
          </a:prstGeom>
          <a:ln>
            <a:headEnd type="none" w="med" len="med"/>
            <a:tailEnd type="triangle"/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5" name="Oval 4"/>
          <p:cNvSpPr/>
          <p:nvPr/>
        </p:nvSpPr>
        <p:spPr bwMode="auto">
          <a:xfrm>
            <a:off x="1246910" y="3403751"/>
            <a:ext cx="2283100" cy="1146461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Water leakage at production floor</a:t>
            </a:r>
          </a:p>
        </p:txBody>
      </p:sp>
      <p:sp>
        <p:nvSpPr>
          <p:cNvPr id="20" name="Oval 19"/>
          <p:cNvSpPr/>
          <p:nvPr/>
        </p:nvSpPr>
        <p:spPr bwMode="auto">
          <a:xfrm>
            <a:off x="4138965" y="3429943"/>
            <a:ext cx="2283100" cy="1150111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Low efficiency DI system</a:t>
            </a:r>
          </a:p>
        </p:txBody>
      </p:sp>
      <p:sp>
        <p:nvSpPr>
          <p:cNvPr id="24" name="Oval 23"/>
          <p:cNvSpPr/>
          <p:nvPr/>
        </p:nvSpPr>
        <p:spPr bwMode="auto">
          <a:xfrm>
            <a:off x="3148964" y="5656530"/>
            <a:ext cx="2551813" cy="1195161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No waste water reclaim</a:t>
            </a:r>
          </a:p>
        </p:txBody>
      </p:sp>
      <p:sp>
        <p:nvSpPr>
          <p:cNvPr id="17" name="Rounded Rectangle 16"/>
          <p:cNvSpPr/>
          <p:nvPr/>
        </p:nvSpPr>
        <p:spPr bwMode="auto">
          <a:xfrm>
            <a:off x="6560287" y="4580054"/>
            <a:ext cx="2464955" cy="942708"/>
          </a:xfrm>
          <a:prstGeom prst="roundRect">
            <a:avLst/>
          </a:prstGeom>
          <a:solidFill>
            <a:srgbClr val="FF990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en-US" sz="1600" b="1" dirty="0">
                <a:solidFill>
                  <a:schemeClr val="bg1"/>
                </a:solidFill>
              </a:rPr>
              <a:t>High </a:t>
            </a:r>
            <a:r>
              <a:rPr lang="en-US" sz="1600" b="1" dirty="0" err="1">
                <a:solidFill>
                  <a:schemeClr val="bg1"/>
                </a:solidFill>
              </a:rPr>
              <a:t>Newater</a:t>
            </a:r>
            <a:r>
              <a:rPr lang="en-US" sz="1600" b="1" dirty="0">
                <a:solidFill>
                  <a:schemeClr val="bg1"/>
                </a:solidFill>
              </a:rPr>
              <a:t> </a:t>
            </a:r>
            <a:r>
              <a:rPr lang="en-US" sz="1600" b="1" dirty="0" smtClean="0">
                <a:solidFill>
                  <a:schemeClr val="bg1"/>
                </a:solidFill>
              </a:rPr>
              <a:t>Consumption </a:t>
            </a:r>
            <a:r>
              <a:rPr lang="en-US" sz="1600" b="1" dirty="0">
                <a:solidFill>
                  <a:schemeClr val="bg1"/>
                </a:solidFill>
              </a:rPr>
              <a:t>in DI </a:t>
            </a:r>
            <a:r>
              <a:rPr lang="en-US" sz="1600" b="1" dirty="0" smtClean="0">
                <a:solidFill>
                  <a:schemeClr val="bg1"/>
                </a:solidFill>
              </a:rPr>
              <a:t>System </a:t>
            </a:r>
            <a:r>
              <a:rPr lang="en-US" sz="1600" b="1" dirty="0">
                <a:solidFill>
                  <a:schemeClr val="bg1"/>
                </a:solidFill>
              </a:rPr>
              <a:t>&amp; Production</a:t>
            </a:r>
          </a:p>
          <a:p>
            <a:pPr algn="ctr"/>
            <a:endParaRPr lang="en-US" sz="1600" b="1" dirty="0">
              <a:solidFill>
                <a:schemeClr val="bg1"/>
              </a:solidFill>
            </a:endParaRPr>
          </a:p>
        </p:txBody>
      </p:sp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553325" y="91470"/>
            <a:ext cx="1385888" cy="7086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8" name="Title 1"/>
          <p:cNvSpPr txBox="1">
            <a:spLocks/>
          </p:cNvSpPr>
          <p:nvPr/>
        </p:nvSpPr>
        <p:spPr>
          <a:xfrm>
            <a:off x="1007698" y="346346"/>
            <a:ext cx="2840620" cy="417170"/>
          </a:xfrm>
          <a:prstGeom prst="rect">
            <a:avLst/>
          </a:prstGeom>
          <a:noFill/>
          <a:ln w="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sz="2000" kern="0" dirty="0" smtClean="0">
                <a:solidFill>
                  <a:srgbClr val="2875CA"/>
                </a:solidFill>
                <a:latin typeface="Britannic Bold" pitchFamily="34" charset="0"/>
              </a:rPr>
              <a:t>Analysis</a:t>
            </a:r>
            <a:endParaRPr lang="en-US" sz="2000" kern="0" dirty="0">
              <a:solidFill>
                <a:srgbClr val="2875CA"/>
              </a:solidFill>
              <a:latin typeface="Britannic Bold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rgbClr val="2875CA"/>
              </a:solidFill>
              <a:effectLst/>
              <a:uLnTx/>
              <a:uFillTx/>
              <a:latin typeface="Britannic Bold" pitchFamily="34" charset="0"/>
              <a:ea typeface="+mj-ea"/>
              <a:cs typeface="+mj-cs"/>
            </a:endParaRPr>
          </a:p>
        </p:txBody>
      </p:sp>
      <p:grpSp>
        <p:nvGrpSpPr>
          <p:cNvPr id="49" name="Group 48"/>
          <p:cNvGrpSpPr/>
          <p:nvPr/>
        </p:nvGrpSpPr>
        <p:grpSpPr>
          <a:xfrm rot="264182">
            <a:off x="86596" y="91470"/>
            <a:ext cx="777240" cy="777240"/>
            <a:chOff x="3728638" y="1092389"/>
            <a:chExt cx="914400" cy="914400"/>
          </a:xfrm>
        </p:grpSpPr>
        <p:grpSp>
          <p:nvGrpSpPr>
            <p:cNvPr id="50" name="Group 49"/>
            <p:cNvGrpSpPr/>
            <p:nvPr/>
          </p:nvGrpSpPr>
          <p:grpSpPr>
            <a:xfrm>
              <a:off x="3728638" y="1092389"/>
              <a:ext cx="914400" cy="914400"/>
              <a:chOff x="2378075" y="502896"/>
              <a:chExt cx="2066925" cy="2066925"/>
            </a:xfrm>
          </p:grpSpPr>
          <p:grpSp>
            <p:nvGrpSpPr>
              <p:cNvPr id="52" name="Group 28"/>
              <p:cNvGrpSpPr>
                <a:grpSpLocks/>
              </p:cNvGrpSpPr>
              <p:nvPr/>
            </p:nvGrpSpPr>
            <p:grpSpPr bwMode="auto">
              <a:xfrm>
                <a:off x="2378075" y="502896"/>
                <a:ext cx="2066925" cy="2066925"/>
                <a:chOff x="2333625" y="219075"/>
                <a:chExt cx="2066236" cy="2066236"/>
              </a:xfrm>
            </p:grpSpPr>
            <p:grpSp>
              <p:nvGrpSpPr>
                <p:cNvPr id="58" name="Group 154"/>
                <p:cNvGrpSpPr>
                  <a:grpSpLocks/>
                </p:cNvGrpSpPr>
                <p:nvPr/>
              </p:nvGrpSpPr>
              <p:grpSpPr bwMode="auto">
                <a:xfrm>
                  <a:off x="2333625" y="219075"/>
                  <a:ext cx="2066236" cy="2066236"/>
                  <a:chOff x="2844111" y="1118742"/>
                  <a:chExt cx="3508375" cy="3508375"/>
                </a:xfrm>
              </p:grpSpPr>
              <p:sp>
                <p:nvSpPr>
                  <p:cNvPr id="60" name="Freeform 6"/>
                  <p:cNvSpPr>
                    <a:spLocks noEditPoints="1"/>
                  </p:cNvSpPr>
                  <p:nvPr>
                    <p:custDataLst>
                      <p:tags r:id="rId1"/>
                    </p:custDataLst>
                  </p:nvPr>
                </p:nvSpPr>
                <p:spPr bwMode="gray">
                  <a:xfrm rot="3600000">
                    <a:off x="2844111" y="1118742"/>
                    <a:ext cx="3508375" cy="3508375"/>
                  </a:xfrm>
                  <a:custGeom>
                    <a:avLst/>
                    <a:gdLst/>
                    <a:ahLst/>
                    <a:cxnLst>
                      <a:cxn ang="0">
                        <a:pos x="292" y="0"/>
                      </a:cxn>
                      <a:cxn ang="0">
                        <a:pos x="0" y="293"/>
                      </a:cxn>
                      <a:cxn ang="0">
                        <a:pos x="292" y="585"/>
                      </a:cxn>
                      <a:cxn ang="0">
                        <a:pos x="585" y="293"/>
                      </a:cxn>
                      <a:cxn ang="0">
                        <a:pos x="292" y="0"/>
                      </a:cxn>
                      <a:cxn ang="0">
                        <a:pos x="292" y="539"/>
                      </a:cxn>
                      <a:cxn ang="0">
                        <a:pos x="46" y="293"/>
                      </a:cxn>
                      <a:cxn ang="0">
                        <a:pos x="292" y="46"/>
                      </a:cxn>
                      <a:cxn ang="0">
                        <a:pos x="539" y="293"/>
                      </a:cxn>
                      <a:cxn ang="0">
                        <a:pos x="292" y="539"/>
                      </a:cxn>
                    </a:cxnLst>
                    <a:rect l="0" t="0" r="r" b="b"/>
                    <a:pathLst>
                      <a:path w="585" h="585">
                        <a:moveTo>
                          <a:pt x="292" y="0"/>
                        </a:moveTo>
                        <a:cubicBezTo>
                          <a:pt x="131" y="0"/>
                          <a:pt x="0" y="131"/>
                          <a:pt x="0" y="293"/>
                        </a:cubicBezTo>
                        <a:cubicBezTo>
                          <a:pt x="0" y="454"/>
                          <a:pt x="131" y="585"/>
                          <a:pt x="292" y="585"/>
                        </a:cubicBezTo>
                        <a:cubicBezTo>
                          <a:pt x="454" y="585"/>
                          <a:pt x="585" y="454"/>
                          <a:pt x="585" y="293"/>
                        </a:cubicBezTo>
                        <a:cubicBezTo>
                          <a:pt x="585" y="131"/>
                          <a:pt x="454" y="0"/>
                          <a:pt x="292" y="0"/>
                        </a:cubicBezTo>
                        <a:close/>
                        <a:moveTo>
                          <a:pt x="292" y="539"/>
                        </a:moveTo>
                        <a:cubicBezTo>
                          <a:pt x="156" y="539"/>
                          <a:pt x="46" y="429"/>
                          <a:pt x="46" y="293"/>
                        </a:cubicBezTo>
                        <a:cubicBezTo>
                          <a:pt x="46" y="156"/>
                          <a:pt x="156" y="46"/>
                          <a:pt x="292" y="46"/>
                        </a:cubicBezTo>
                        <a:cubicBezTo>
                          <a:pt x="429" y="46"/>
                          <a:pt x="539" y="156"/>
                          <a:pt x="539" y="293"/>
                        </a:cubicBezTo>
                        <a:cubicBezTo>
                          <a:pt x="539" y="429"/>
                          <a:pt x="429" y="539"/>
                          <a:pt x="292" y="539"/>
                        </a:cubicBezTo>
                        <a:close/>
                      </a:path>
                    </a:pathLst>
                  </a:custGeom>
                  <a:solidFill>
                    <a:srgbClr val="0070C0"/>
                  </a:solidFill>
                  <a:ln>
                    <a:headEnd type="none" w="med" len="med"/>
                    <a:tailEnd type="none" w="med" len="med"/>
                  </a:ln>
                </p:spPr>
                <p:style>
                  <a:lnRef idx="0">
                    <a:schemeClr val="accent4"/>
                  </a:lnRef>
                  <a:fillRef idx="3">
                    <a:schemeClr val="accent4"/>
                  </a:fillRef>
                  <a:effectRef idx="3">
                    <a:schemeClr val="accent4"/>
                  </a:effectRef>
                  <a:fontRef idx="minor">
                    <a:schemeClr val="lt1"/>
                  </a:fontRef>
                </p:style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da-DK" sz="900"/>
                  </a:p>
                </p:txBody>
              </p:sp>
              <p:sp>
                <p:nvSpPr>
                  <p:cNvPr id="61" name="Ellipse 12"/>
                  <p:cNvSpPr>
                    <a:spLocks noChangeArrowheads="1"/>
                  </p:cNvSpPr>
                  <p:nvPr/>
                </p:nvSpPr>
                <p:spPr bwMode="auto">
                  <a:xfrm>
                    <a:off x="3948899" y="2247780"/>
                    <a:ext cx="1279938" cy="1279938"/>
                  </a:xfrm>
                  <a:prstGeom prst="ellipse">
                    <a:avLst/>
                  </a:prstGeom>
                  <a:gradFill rotWithShape="1">
                    <a:gsLst>
                      <a:gs pos="0">
                        <a:srgbClr val="353637"/>
                      </a:gs>
                      <a:gs pos="100000">
                        <a:srgbClr val="151616"/>
                      </a:gs>
                    </a:gsLst>
                    <a:path path="shape">
                      <a:fillToRect l="50000" t="50000" r="50000" b="50000"/>
                    </a:path>
                  </a:gradFill>
                  <a:ln w="9525">
                    <a:solidFill>
                      <a:srgbClr val="191919"/>
                    </a:solidFill>
                    <a:round/>
                    <a:headEnd/>
                    <a:tailEnd/>
                  </a:ln>
                  <a:effectLst>
                    <a:outerShdw dist="23000" dir="5400000" rotWithShape="0">
                      <a:srgbClr val="808080">
                        <a:alpha val="34999"/>
                      </a:srgbClr>
                    </a:outerShdw>
                  </a:effectLst>
                </p:spPr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latin typeface="Calibri" charset="0"/>
                    </a:endParaRPr>
                  </a:p>
                </p:txBody>
              </p:sp>
              <p:sp>
                <p:nvSpPr>
                  <p:cNvPr id="62" name="Ellipse 13"/>
                  <p:cNvSpPr/>
                  <p:nvPr/>
                </p:nvSpPr>
                <p:spPr bwMode="auto">
                  <a:xfrm>
                    <a:off x="4118660" y="2304368"/>
                    <a:ext cx="940416" cy="692512"/>
                  </a:xfrm>
                  <a:prstGeom prst="ellipse">
                    <a:avLst/>
                  </a:prstGeom>
                  <a:gradFill flip="none" rotWithShape="1">
                    <a:gsLst>
                      <a:gs pos="0">
                        <a:schemeClr val="tx2">
                          <a:lumMod val="40000"/>
                          <a:lumOff val="60000"/>
                          <a:alpha val="0"/>
                        </a:schemeClr>
                      </a:gs>
                      <a:gs pos="100000">
                        <a:schemeClr val="bg1">
                          <a:alpha val="77000"/>
                        </a:schemeClr>
                      </a:gs>
                    </a:gsLst>
                    <a:lin ang="16200000" scaled="0"/>
                    <a:tileRect/>
                  </a:gradFill>
                  <a:ln>
                    <a:noFill/>
                  </a:ln>
                  <a:effectLst/>
                </p:spPr>
                <p:style>
                  <a:lnRef idx="1">
                    <a:schemeClr val="accent1"/>
                  </a:lnRef>
                  <a:fillRef idx="3">
                    <a:schemeClr val="accent1"/>
                  </a:fillRef>
                  <a:effectRef idx="2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endParaRPr lang="da-DK" sz="900">
                      <a:solidFill>
                        <a:srgbClr val="FFFFFF"/>
                      </a:solidFill>
                      <a:ea typeface="ＭＳ Ｐゴシック" charset="-128"/>
                    </a:endParaRPr>
                  </a:p>
                </p:txBody>
              </p:sp>
              <p:sp>
                <p:nvSpPr>
                  <p:cNvPr id="63" name="Block Arc 62"/>
                  <p:cNvSpPr/>
                  <p:nvPr/>
                </p:nvSpPr>
                <p:spPr>
                  <a:xfrm rot="18729919">
                    <a:off x="3230788" y="1508111"/>
                    <a:ext cx="2726940" cy="2729633"/>
                  </a:xfrm>
                  <a:prstGeom prst="blockArc">
                    <a:avLst>
                      <a:gd name="adj1" fmla="val 574634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lang="en-US" sz="900"/>
                  </a:p>
                </p:txBody>
              </p:sp>
              <p:sp>
                <p:nvSpPr>
                  <p:cNvPr id="64" name="Block Arc 63"/>
                  <p:cNvSpPr/>
                  <p:nvPr/>
                </p:nvSpPr>
                <p:spPr>
                  <a:xfrm rot="1352524">
                    <a:off x="3229440" y="1509459"/>
                    <a:ext cx="2729633" cy="2726940"/>
                  </a:xfrm>
                  <a:prstGeom prst="blockArc">
                    <a:avLst>
                      <a:gd name="adj1" fmla="val 5964709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65" name="Block Arc 64"/>
                  <p:cNvSpPr/>
                  <p:nvPr/>
                </p:nvSpPr>
                <p:spPr>
                  <a:xfrm rot="5869595">
                    <a:off x="3230788" y="1508111"/>
                    <a:ext cx="2726940" cy="2729633"/>
                  </a:xfrm>
                  <a:prstGeom prst="blockArc">
                    <a:avLst>
                      <a:gd name="adj1" fmla="val 5627424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66" name="Block Arc 65"/>
                  <p:cNvSpPr/>
                  <p:nvPr/>
                </p:nvSpPr>
                <p:spPr>
                  <a:xfrm rot="10291675">
                    <a:off x="3229440" y="1509459"/>
                    <a:ext cx="2729633" cy="2726940"/>
                  </a:xfrm>
                  <a:prstGeom prst="blockArc">
                    <a:avLst>
                      <a:gd name="adj1" fmla="val 5803831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  <p:sp>
                <p:nvSpPr>
                  <p:cNvPr id="67" name="Block Arc 66"/>
                  <p:cNvSpPr/>
                  <p:nvPr/>
                </p:nvSpPr>
                <p:spPr>
                  <a:xfrm rot="14301489">
                    <a:off x="3230788" y="1508111"/>
                    <a:ext cx="2726940" cy="2729633"/>
                  </a:xfrm>
                  <a:prstGeom prst="blockArc">
                    <a:avLst>
                      <a:gd name="adj1" fmla="val 6140645"/>
                      <a:gd name="adj2" fmla="val 9939919"/>
                      <a:gd name="adj3" fmla="val 22016"/>
                    </a:avLst>
                  </a:prstGeom>
                  <a:solidFill>
                    <a:srgbClr val="C0FF4D"/>
                  </a:solidFill>
                  <a:ln w="3175" cap="flat" cmpd="sng">
                    <a:solidFill>
                      <a:schemeClr val="bg2">
                        <a:lumMod val="75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txBody>
                  <a:bodyPr/>
                  <a:lstStyle/>
                  <a:p>
                    <a:pPr fontAlgn="auto">
                      <a:spcBef>
                        <a:spcPts val="0"/>
                      </a:spcBef>
                      <a:spcAft>
                        <a:spcPts val="0"/>
                      </a:spcAft>
                    </a:pPr>
                    <a:endParaRPr lang="en-US" sz="900"/>
                  </a:p>
                </p:txBody>
              </p:sp>
            </p:grpSp>
            <p:sp>
              <p:nvSpPr>
                <p:cNvPr id="59" name="Ellipse 15"/>
                <p:cNvSpPr/>
                <p:nvPr/>
              </p:nvSpPr>
              <p:spPr bwMode="auto">
                <a:xfrm>
                  <a:off x="2763695" y="465055"/>
                  <a:ext cx="1237837" cy="915683"/>
                </a:xfrm>
                <a:prstGeom prst="ellipse">
                  <a:avLst/>
                </a:prstGeom>
                <a:gradFill flip="none" rotWithShape="1">
                  <a:gsLst>
                    <a:gs pos="0">
                      <a:schemeClr val="tx2">
                        <a:lumMod val="40000"/>
                        <a:lumOff val="60000"/>
                        <a:alpha val="0"/>
                      </a:schemeClr>
                    </a:gs>
                    <a:gs pos="100000">
                      <a:schemeClr val="bg1">
                        <a:alpha val="77000"/>
                      </a:schemeClr>
                    </a:gs>
                  </a:gsLst>
                  <a:lin ang="16200000" scaled="0"/>
                  <a:tileRect/>
                </a:gra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auto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lang="da-DK" sz="900" dirty="0"/>
                </a:p>
              </p:txBody>
            </p:sp>
          </p:grpSp>
          <p:sp>
            <p:nvSpPr>
              <p:cNvPr id="53" name="TextBox 29"/>
              <p:cNvSpPr txBox="1">
                <a:spLocks noChangeArrowheads="1"/>
              </p:cNvSpPr>
              <p:nvPr/>
            </p:nvSpPr>
            <p:spPr bwMode="auto">
              <a:xfrm>
                <a:off x="2754110" y="771753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D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54" name="TextBox 29"/>
              <p:cNvSpPr txBox="1">
                <a:spLocks noChangeArrowheads="1"/>
              </p:cNvSpPr>
              <p:nvPr/>
            </p:nvSpPr>
            <p:spPr bwMode="auto">
              <a:xfrm>
                <a:off x="2584640" y="1514847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M</a:t>
                </a:r>
              </a:p>
            </p:txBody>
          </p:sp>
          <p:sp>
            <p:nvSpPr>
              <p:cNvPr id="55" name="TextBox 29"/>
              <p:cNvSpPr txBox="1">
                <a:spLocks noChangeArrowheads="1"/>
              </p:cNvSpPr>
              <p:nvPr/>
            </p:nvSpPr>
            <p:spPr bwMode="auto">
              <a:xfrm>
                <a:off x="3253164" y="1880209"/>
                <a:ext cx="289718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A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56" name="TextBox 29"/>
              <p:cNvSpPr txBox="1">
                <a:spLocks noChangeArrowheads="1"/>
              </p:cNvSpPr>
              <p:nvPr/>
            </p:nvSpPr>
            <p:spPr bwMode="auto">
              <a:xfrm>
                <a:off x="3844923" y="13567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 smtClean="0">
                    <a:solidFill>
                      <a:srgbClr val="151616"/>
                    </a:solidFill>
                  </a:rPr>
                  <a:t>I</a:t>
                </a:r>
                <a:endParaRPr lang="da-DK" sz="900" dirty="0">
                  <a:solidFill>
                    <a:srgbClr val="151616"/>
                  </a:solidFill>
                </a:endParaRPr>
              </a:p>
            </p:txBody>
          </p:sp>
          <p:sp>
            <p:nvSpPr>
              <p:cNvPr id="57" name="TextBox 29"/>
              <p:cNvSpPr txBox="1">
                <a:spLocks noChangeArrowheads="1"/>
              </p:cNvSpPr>
              <p:nvPr/>
            </p:nvSpPr>
            <p:spPr bwMode="auto">
              <a:xfrm>
                <a:off x="3487620" y="715859"/>
                <a:ext cx="289719" cy="52177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da-DK" sz="900" dirty="0">
                    <a:solidFill>
                      <a:srgbClr val="151616"/>
                    </a:solidFill>
                  </a:rPr>
                  <a:t>C</a:t>
                </a:r>
              </a:p>
            </p:txBody>
          </p:sp>
        </p:grpSp>
        <p:sp>
          <p:nvSpPr>
            <p:cNvPr id="51" name="TextBox 29"/>
            <p:cNvSpPr txBox="1">
              <a:spLocks noChangeArrowheads="1"/>
            </p:cNvSpPr>
            <p:nvPr/>
          </p:nvSpPr>
          <p:spPr bwMode="auto">
            <a:xfrm rot="21335818">
              <a:off x="4056376" y="1352947"/>
              <a:ext cx="128171" cy="3982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da-DK" sz="1600" b="1" dirty="0" smtClean="0">
                  <a:solidFill>
                    <a:schemeClr val="bg1"/>
                  </a:solidFill>
                </a:rPr>
                <a:t>A</a:t>
              </a:r>
              <a:endParaRPr lang="da-DK" sz="16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70" name="Group 69"/>
          <p:cNvGrpSpPr/>
          <p:nvPr/>
        </p:nvGrpSpPr>
        <p:grpSpPr>
          <a:xfrm>
            <a:off x="0" y="1066531"/>
            <a:ext cx="9144000" cy="464557"/>
            <a:chOff x="0" y="0"/>
            <a:chExt cx="9144000" cy="556968"/>
          </a:xfrm>
          <a:scene3d>
            <a:camera prst="orthographicFront"/>
            <a:lightRig rig="threePt" dir="t">
              <a:rot lat="0" lon="0" rev="7500000"/>
            </a:lightRig>
          </a:scene3d>
        </p:grpSpPr>
        <p:sp>
          <p:nvSpPr>
            <p:cNvPr id="71" name="Rectangle 70"/>
            <p:cNvSpPr/>
            <p:nvPr/>
          </p:nvSpPr>
          <p:spPr>
            <a:xfrm>
              <a:off x="0" y="0"/>
              <a:ext cx="9144000" cy="556968"/>
            </a:xfrm>
            <a:prstGeom prst="rect">
              <a:avLst/>
            </a:prstGeom>
            <a:sp3d prstMaterial="plastic">
              <a:bevelT w="127000" h="25400" prst="relaxedInset"/>
              <a:bevelB w="88900" h="121750" prst="angle"/>
            </a:sp3d>
          </p:spPr>
          <p:style>
            <a:lnRef idx="0">
              <a:schemeClr val="dk1">
                <a:hueOff val="0"/>
                <a:satOff val="0"/>
                <a:lumOff val="0"/>
                <a:alphaOff val="0"/>
              </a:schemeClr>
            </a:lnRef>
            <a:fillRef idx="1">
              <a:schemeClr val="accent4">
                <a:shade val="90000"/>
                <a:hueOff val="0"/>
                <a:satOff val="0"/>
                <a:lumOff val="0"/>
                <a:alphaOff val="0"/>
              </a:schemeClr>
            </a:fillRef>
            <a:effectRef idx="2">
              <a:schemeClr val="accent4">
                <a:shade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72" name="Rectangle 71"/>
            <p:cNvSpPr/>
            <p:nvPr/>
          </p:nvSpPr>
          <p:spPr>
            <a:xfrm>
              <a:off x="0" y="0"/>
              <a:ext cx="9144000" cy="556968"/>
            </a:xfrm>
            <a:prstGeom prst="rect">
              <a:avLst/>
            </a:prstGeom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99060" tIns="99060" rIns="99060" bIns="99060" numCol="1" spcCol="1270" anchor="ctr" anchorCtr="0">
              <a:noAutofit/>
            </a:bodyPr>
            <a:lstStyle/>
            <a:p>
              <a:pPr lvl="0" algn="ctr" defTabSz="1155700">
                <a:lnSpc>
                  <a:spcPct val="90000"/>
                </a:lnSpc>
                <a:spcAft>
                  <a:spcPct val="35000"/>
                </a:spcAft>
              </a:pPr>
              <a:r>
                <a:rPr lang="en-US" sz="2400" dirty="0" smtClean="0"/>
                <a:t>Cause &amp; Effect Analysis-</a:t>
              </a:r>
              <a:r>
                <a:rPr lang="en-US" sz="2400" dirty="0" err="1" smtClean="0"/>
                <a:t>Newater</a:t>
              </a:r>
              <a:endParaRPr lang="en-US" sz="2400" dirty="0"/>
            </a:p>
          </p:txBody>
        </p:sp>
      </p:grp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113" y="1673386"/>
            <a:ext cx="9132887" cy="139942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24385206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xmlns="" Requires="p14">
      <p:transition spd="slow" p14:dur="1600">
        <p14:prism isContent="1" isInverted="1"/>
      </p:transition>
    </mc:Choice>
    <mc:Fallback>
      <p:transition spd="slow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1;Scheme1;-1;-2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Scheme1;Scheme1;Scheme2;Scheme1;-1;-2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-1;-1;-2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Phi"/>
  <p:tag name="SHAPESETGROUPCLASSNAME" val="ShapeSetGroup2"/>
  <p:tag name="SHAPESETCLASSNAME" val="TITLETEXT"/>
  <p:tag name="COLORSETGROUPCLASSNAME" val="ColorSetGroupLight"/>
  <p:tag name="COLORSETCLASSNAME" val="ColorSet1"/>
  <p:tag name="FONTSETGROUPCLASSNAME" val="FontSetGroup2"/>
  <p:tag name="STYLESETGROUPCLASSNAME" val="StyleSetGroup1"/>
  <p:tag name="MAPNAME" val="Map1"/>
  <p:tag name="CFG.LAYOUT" val="Default"/>
  <p:tag name="MLI" val="1"/>
  <p:tag name="TEXT PLACEHOLDER 2_SHAPECLASSPROTECTIONTYPE" val="0"/>
  <p:tag name="TITLE 1_SHAPECLASSPROTECTIONTYPE" val="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SlideTitleFont"/>
  <p:tag name="FONTSETCLASSNAME" val="FontSet1"/>
  <p:tag name="COLORSETCLASSNAME" val="ColorSet1"/>
  <p:tag name="MLI" val="1"/>
  <p:tag name="SHAPESETGROUPCLASSNAME" val="ShapeSetGroup2"/>
  <p:tag name="SHAPESETCLASSNAME" val="TITLETEXT"/>
  <p:tag name="COLORSETGROUPCLASSNAME" val="ColorSetGroupLight"/>
  <p:tag name="FONTSETGROUPCLASSNAME" val="FontSetGroup2"/>
  <p:tag name="SHAPECLASSNAME" val="TitleOnSlide"/>
  <p:tag name="SHAPECLASSPROTECTIONTYPE" val="0"/>
  <p:tag name="COLORS" val="-2;-2;-2;-2;-3;-2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-1;-1;-2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MLI" val="1"/>
  <p:tag name="SHAPESETGROUPCLASSNAME" val="ShapeSetGroup2"/>
  <p:tag name="SHAPESETCLASSNAME" val="TITLETEXT"/>
  <p:tag name="COLORSETGROUPCLASSNAME" val="ColorSetGroupLight"/>
  <p:tag name="FONTSETGROUPCLASSNAME" val="FontSetGroup2"/>
  <p:tag name="SHAPECLASSNAME" val="LargeTextBox"/>
  <p:tag name="SHAPECLASSPROTECTIONTYPE" val="0"/>
  <p:tag name="COLORS" val="-2;-2;Scheme1;Scheme1;-3;-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MLI" val="1"/>
  <p:tag name="SHAPESETGROUPCLASSNAME" val="ShapeSetGroup2"/>
  <p:tag name="SHAPESETCLASSNAME" val="TITLETEXT"/>
  <p:tag name="COLORSETGROUPCLASSNAME" val="ColorSetGroupLight"/>
  <p:tag name="FONTSETGROUPCLASSNAME" val="FontSetGroup2"/>
  <p:tag name="SHAPECLASSNAME" val="LargeTextBox"/>
  <p:tag name="SHAPECLASSPROTECTIONTYPE" val="0"/>
  <p:tag name="COLORS" val="-2;-2;-2;-2;-3;-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MLI" val="1"/>
  <p:tag name="SHAPESETGROUPCLASSNAME" val="ShapeSetGroup2"/>
  <p:tag name="SHAPESETCLASSNAME" val="TITLETEXT"/>
  <p:tag name="COLORSETGROUPCLASSNAME" val="ColorSetGroupLight"/>
  <p:tag name="FONTSETGROUPCLASSNAME" val="FontSetGroup2"/>
  <p:tag name="SHAPECLASSNAME" val="LargeTextBox"/>
  <p:tag name="SHAPECLASSPROTECTIONTYPE" val="0"/>
  <p:tag name="COLORS" val="-2;-2;-2;-2;-3;-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-1;-1;-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L_1" val="Phi"/>
  <p:tag name="FIELDS.INITIALIZED" val="1"/>
  <p:tag name="SHAPESETGROUPCLASSNAME" val="ShapeSetGroup2"/>
  <p:tag name="SHAPESETCLASSNAME" val="TITLETEXT"/>
  <p:tag name="COLORSETGROUPCLASSNAME" val="ColorSetGroupLight"/>
  <p:tag name="COLORSETCLASSNAME" val="ColorSet1"/>
  <p:tag name="FONTSETGROUPCLASSNAME" val="FontSetGroup2"/>
  <p:tag name="STYLESETGROUPCLASSNAME" val="StyleSetGroup1"/>
  <p:tag name="MAPNAME" val="Map1"/>
  <p:tag name="CFG.LAYOUT" val="Default"/>
  <p:tag name="MLI" val="1"/>
  <p:tag name="TEXT PLACEHOLDER 2_SHAPECLASSPROTECTIONTYPE" val="0"/>
  <p:tag name="TITLE 1_SHAPECLASSPROTECTIONTYPE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Scheme2;Scheme1;Scheme1;Scheme1;-1;-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" val="-2;-2;-2;-2;-2;-2"/>
  <p:tag name="COLORSETCLASSNAME" val="ColorSet1"/>
  <p:tag name="MLI" val="1"/>
  <p:tag name="SHAPESETGROUPCLASSNAME" val="ShapeSetGroup2"/>
  <p:tag name="SHAPESETCLASSNAME" val="ENDSLIDE"/>
  <p:tag name="COLORSETGROUPCLASSNAME" val="ColorSetGroupLight"/>
  <p:tag name="FONTSETGROUPCLASSNAME" val="FontSetGroup2"/>
  <p:tag name="SHAPECLASSNAME" val="Shield"/>
  <p:tag name="SHAPECLASSFILE" val="SHLRTR2$C.gif"/>
  <p:tag name="SHAPECLASSPROTECTIONTYPE" val="3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Scheme2;Scheme1;SlideTextFontColor;-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Scheme2;Scheme1;SlideTextFontColor;-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Scheme2;Scheme1;SlideTextFontColor;-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ONT" val="TitleDescFont"/>
  <p:tag name="FONTSETCLASSNAME" val="FontSet1"/>
  <p:tag name="COLORS" val="-2;-2;-2;-2;TitleDescFontColor"/>
  <p:tag name="COLORSETCLASSNAME" val="ColorSet1"/>
  <p:tag name="SCRIPT" val="1"/>
  <p:tag name="FIELDS" val="DIVISION;"/>
  <p:tag name="MLI" val="1"/>
  <p:tag name="SHAPESETGROUPCLASSNAME" val="ShapeSetGroup2"/>
  <p:tag name="SHAPESETCLASSNAME" val="TITLE"/>
  <p:tag name="COLORSETGROUPCLASSNAME" val="ColorSetGroupLight"/>
  <p:tag name="FONTSETGROUPCLASSNAME" val="FontSetGroup2"/>
  <p:tag name="SHAPECLASSNAME" val="Division"/>
  <p:tag name="SHAPECLASSPROTECTIONTYPE" val="47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Scheme2;Scheme1;SlideTextFontColor;-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Scheme2;Scheme1;SlideTextFontColor;-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;-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Scheme2;Scheme1;SlideTextFontColor;-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Scheme2;Scheme1;SlideTextFontColor;-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Scheme2;Scheme1;SlideTextFontColor;-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Scheme2;Scheme1;SlideTextFontColor;-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HighlightColor2;Scheme1;-1;-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Scheme2;Scheme1;SlideTextFontColor;-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1;Scheme1;-1;-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Scheme2;Scheme1;SlideTextFontColor;-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Scheme5;Scheme1;Scheme2;Scheme1;-1;-2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Scheme2;Scheme1;SlideTextFontColor;-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Scheme2;Scheme1;SlideTextFontColor;-2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Scheme2;Scheme1;SlideTextFontColor;-2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Scheme5;Scheme1;Scheme2;Scheme1;-1;-2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Scheme5;Scheme1;Scheme2;Scheme1;-1;-2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FIELDS.INITIALIZED" val="1"/>
  <p:tag name="ML_1" val="Phi"/>
  <p:tag name="SHAPESETGROUPCLASSNAME" val="ShapeSetGroup2"/>
  <p:tag name="SHAPESETCLASSNAME" val="TITLETEXT"/>
  <p:tag name="COLORSETGROUPCLASSNAME" val="ColorSetGroupLight"/>
  <p:tag name="COLORSETCLASSNAME" val="ColorSet1"/>
  <p:tag name="FONTSETGROUPCLASSNAME" val="FontSetGroup2"/>
  <p:tag name="STYLESETGROUPCLASSNAME" val="StyleSetGroup1"/>
  <p:tag name="MAPNAME" val="Map1"/>
  <p:tag name="CFG.LAYOUT" val="Default"/>
  <p:tag name="MLI" val="1"/>
  <p:tag name="TEXT PLACEHOLDER 2_SHAPECLASSPROTECTIONTYPE" val="0"/>
  <p:tag name="TITLE 1_SHAPECLASSPROTECTIONTYPE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d5tHYcmGqkSMmpVnASVmD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;-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1;Scheme1;-1;-2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;-2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Scheme1;Scheme1;Scheme2;Scheme1;SlideTextFontColor;-2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;-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;-2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;-2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1;Scheme1;-1;Scheme1;-1;-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1;Scheme1;-1;-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;-2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;-2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Scheme1;Scheme1;Scheme2;Scheme1;-1;-2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-1;-2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;-2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;-2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-2;-2;SlideTextFontColor;-2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-2;-2;Scheme2;Scheme1;-1;-2"/>
</p:tagLst>
</file>

<file path=ppt/theme/theme1.xml><?xml version="1.0" encoding="utf-8"?>
<a:theme xmlns:a="http://schemas.openxmlformats.org/drawingml/2006/main" name="June2010Template_SL">
  <a:themeElements>
    <a:clrScheme name="Phillips-Palette-2012">
      <a:dk1>
        <a:srgbClr val="000000"/>
      </a:dk1>
      <a:lt1>
        <a:srgbClr val="FFFFFF"/>
      </a:lt1>
      <a:dk2>
        <a:srgbClr val="000000"/>
      </a:dk2>
      <a:lt2>
        <a:srgbClr val="91C7FF"/>
      </a:lt2>
      <a:accent1>
        <a:srgbClr val="00A7BC"/>
      </a:accent1>
      <a:accent2>
        <a:srgbClr val="992C96"/>
      </a:accent2>
      <a:accent3>
        <a:srgbClr val="7CBD2A"/>
      </a:accent3>
      <a:accent4>
        <a:srgbClr val="2875CA"/>
      </a:accent4>
      <a:accent5>
        <a:srgbClr val="F58F08"/>
      </a:accent5>
      <a:accent6>
        <a:srgbClr val="E92823"/>
      </a:accent6>
      <a:hlink>
        <a:srgbClr val="722070"/>
      </a:hlink>
      <a:folHlink>
        <a:srgbClr val="722070"/>
      </a:folHlink>
    </a:clrScheme>
    <a:fontScheme name="1_PLL_2009_June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2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rgbClr val="000000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Larissa-Design 1">
        <a:dk1>
          <a:srgbClr val="000000"/>
        </a:dk1>
        <a:lt1>
          <a:srgbClr val="FFFFFF"/>
        </a:lt1>
        <a:dk2>
          <a:srgbClr val="000000"/>
        </a:dk2>
        <a:lt2>
          <a:srgbClr val="9EA1B2"/>
        </a:lt2>
        <a:accent1>
          <a:srgbClr val="C1E3EB"/>
        </a:accent1>
        <a:accent2>
          <a:srgbClr val="69C3DA"/>
        </a:accent2>
        <a:accent3>
          <a:srgbClr val="FFFFFF"/>
        </a:accent3>
        <a:accent4>
          <a:srgbClr val="000000"/>
        </a:accent4>
        <a:accent5>
          <a:srgbClr val="DDEFF3"/>
        </a:accent5>
        <a:accent6>
          <a:srgbClr val="5EB0C5"/>
        </a:accent6>
        <a:hlink>
          <a:srgbClr val="FFBB57"/>
        </a:hlink>
        <a:folHlink>
          <a:srgbClr val="005A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BAC69A4D077E24782359A6A87D4BCB0" ma:contentTypeVersion="0" ma:contentTypeDescription="Create a new document." ma:contentTypeScope="" ma:versionID="a5631bfbe368af7a4519c48e6cd5fc6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D43951F-121F-4A7D-9B29-258058B77165}">
  <ds:schemaRefs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http://purl.org/dc/dcmitype/"/>
    <ds:schemaRef ds:uri="http://purl.org/dc/terms/"/>
    <ds:schemaRef ds:uri="http://schemas.openxmlformats.org/package/2006/metadata/core-properties"/>
    <ds:schemaRef ds:uri="http://www.w3.org/XML/1998/namespace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DF1C7918-BEA5-481A-83CC-C3CD979FF78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02328E95-044C-415F-A66F-5936FD960EF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787</Words>
  <Application>Microsoft Office PowerPoint</Application>
  <PresentationFormat>On-screen Show (4:3)</PresentationFormat>
  <Paragraphs>577</Paragraphs>
  <Slides>32</Slides>
  <Notes>4</Notes>
  <HiddenSlides>0</HiddenSlides>
  <MMClips>2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3" baseType="lpstr">
      <vt:lpstr>June2010Template_SL</vt:lpstr>
      <vt:lpstr>Slide 1</vt:lpstr>
      <vt:lpstr>Team Members</vt:lpstr>
      <vt:lpstr>Slide 3</vt:lpstr>
      <vt:lpstr>Slide 4</vt:lpstr>
      <vt:lpstr>Slide 5</vt:lpstr>
      <vt:lpstr>Slide 6</vt:lpstr>
      <vt:lpstr>Slide 7</vt:lpstr>
      <vt:lpstr>Slide 8</vt:lpstr>
      <vt:lpstr>Slide 9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Slide 17</vt:lpstr>
      <vt:lpstr>Slide 18</vt:lpstr>
      <vt:lpstr>Slide 19</vt:lpstr>
      <vt:lpstr>Slide 20</vt:lpstr>
      <vt:lpstr>Slide 21</vt:lpstr>
      <vt:lpstr>Slide 22</vt:lpstr>
      <vt:lpstr>Slide 23</vt:lpstr>
      <vt:lpstr>Slide 24</vt:lpstr>
      <vt:lpstr>Slide 25</vt:lpstr>
      <vt:lpstr>Project Achievements</vt:lpstr>
      <vt:lpstr>Project Achievements</vt:lpstr>
      <vt:lpstr>Project Achievements</vt:lpstr>
      <vt:lpstr>Slide 29</vt:lpstr>
      <vt:lpstr>Far-reaching Environment Sustainability </vt:lpstr>
      <vt:lpstr>Our Future Plan…</vt:lpstr>
      <vt:lpstr>Slide 32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4-12T22:46:23Z</dcterms:created>
  <dcterms:modified xsi:type="dcterms:W3CDTF">2014-01-28T03:10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BAC69A4D077E24782359A6A87D4BCB0</vt:lpwstr>
  </property>
</Properties>
</file>